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5"/>
  </p:notesMasterIdLst>
  <p:sldIdLst>
    <p:sldId id="256" r:id="rId2"/>
    <p:sldId id="286" r:id="rId3"/>
    <p:sldId id="280" r:id="rId4"/>
    <p:sldId id="290" r:id="rId5"/>
    <p:sldId id="289" r:id="rId6"/>
    <p:sldId id="303" r:id="rId7"/>
    <p:sldId id="304" r:id="rId8"/>
    <p:sldId id="296" r:id="rId9"/>
    <p:sldId id="300" r:id="rId10"/>
    <p:sldId id="305" r:id="rId11"/>
    <p:sldId id="306" r:id="rId12"/>
    <p:sldId id="378" r:id="rId13"/>
    <p:sldId id="379" r:id="rId1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696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pos="168" userDrawn="1">
          <p15:clr>
            <a:srgbClr val="A4A3A4"/>
          </p15:clr>
        </p15:guide>
        <p15:guide id="4" pos="7512" userDrawn="1">
          <p15:clr>
            <a:srgbClr val="A4A3A4"/>
          </p15:clr>
        </p15:guide>
        <p15:guide id="5" orient="horz" pos="4008" userDrawn="1">
          <p15:clr>
            <a:srgbClr val="A4A3A4"/>
          </p15:clr>
        </p15:guide>
        <p15:guide id="6" orient="horz" pos="2352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6B6B"/>
    <a:srgbClr val="D9D9D9"/>
    <a:srgbClr val="280E32"/>
    <a:srgbClr val="556270"/>
    <a:srgbClr val="2E1437"/>
    <a:srgbClr val="948E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37CE354-AF6A-430F-8974-EBB386B1967D}" v="10" dt="2019-07-03T09:39:02.430"/>
    <p1510:client id="{32B96B7B-2833-4A1D-A858-70AFE108375C}" v="19" dt="2019-07-03T06:22:08.420"/>
    <p1510:client id="{65188817-6795-4E49-ADCA-C481DDF67E31}" v="5" dt="2019-07-03T06:39:19.350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>
        <p:guide orient="horz" pos="696"/>
        <p:guide pos="3840"/>
        <p:guide pos="168"/>
        <p:guide pos="7512"/>
        <p:guide orient="horz" pos="4008"/>
        <p:guide orient="horz" pos="2352"/>
      </p:guideLst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20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0D564AC-8C04-43F5-B0D5-0B17C27E0E5B}" type="datetimeFigureOut">
              <a:rPr lang="en-US" smtClean="0"/>
              <a:t>7/3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34A6E9B-EAC0-42DB-A7DB-C098814DC4E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10262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23577CB-5651-4F7E-826B-F02F6FA255D2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29875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pattFill prst="divot">
          <a:fgClr>
            <a:schemeClr val="bg1">
              <a:lumMod val="8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329EDB-71EC-4364-B899-B56C16D151B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A553911-3BCE-4DDC-8424-6B06FF964AE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7110B89-5F19-4463-ACBF-5A59B129E7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DFA0F7-84FD-46DF-989E-91FBE20BD392}" type="datetimeFigureOut">
              <a:rPr lang="en-US" smtClean="0"/>
              <a:t>7/3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A9764F9-0E20-4ABD-AE78-1A63769937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2828EF-4606-45C4-A466-54E5C32F49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C45652-25C1-4BF0-A3A9-200AF1F974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892686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bg>
      <p:bgPr>
        <a:pattFill prst="divot">
          <a:fgClr>
            <a:schemeClr val="bg1">
              <a:lumMod val="8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E3B1AE-8E01-4CF6-BF33-266D05137B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D4171E9-279A-44CA-83F8-239793B8651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A460DF3-65F4-4325-B68F-3319C559B0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DFA0F7-84FD-46DF-989E-91FBE20BD392}" type="datetimeFigureOut">
              <a:rPr lang="en-US" smtClean="0"/>
              <a:t>7/3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F6CE690-5550-4C69-AE2E-518FD643B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E6ADD0-6FD9-4AEF-BF93-762239A390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C45652-25C1-4BF0-A3A9-200AF1F974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863630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bg>
      <p:bgPr>
        <a:pattFill prst="divot">
          <a:fgClr>
            <a:schemeClr val="bg1">
              <a:lumMod val="8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0B3633B5-0965-4B9F-8B2A-BA9E10C7C96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3E309F1-6B7E-4632-81CA-D7EC3F38A2C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D4D8124-CADE-4E3B-A6E7-B25E5073FE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DFA0F7-84FD-46DF-989E-91FBE20BD392}" type="datetimeFigureOut">
              <a:rPr lang="en-US" smtClean="0"/>
              <a:t>7/3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C330A94-883D-4809-B5CD-60FB32805A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C73942E-4193-4484-B176-3A30F7ED10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C45652-25C1-4BF0-A3A9-200AF1F974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959223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pattFill prst="divot">
          <a:fgClr>
            <a:schemeClr val="bg1">
              <a:lumMod val="8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32BFC978-B996-459D-BCF0-F22C2E413C01}"/>
              </a:ext>
            </a:extLst>
          </p:cNvPr>
          <p:cNvGrpSpPr/>
          <p:nvPr userDrawn="1"/>
        </p:nvGrpSpPr>
        <p:grpSpPr>
          <a:xfrm>
            <a:off x="-593721" y="3690907"/>
            <a:ext cx="3604881" cy="4440403"/>
            <a:chOff x="-593721" y="3690907"/>
            <a:chExt cx="3604881" cy="4440403"/>
          </a:xfrm>
        </p:grpSpPr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A553C576-F934-4166-AB17-344413522F1F}"/>
                </a:ext>
              </a:extLst>
            </p:cNvPr>
            <p:cNvSpPr/>
            <p:nvPr/>
          </p:nvSpPr>
          <p:spPr>
            <a:xfrm rot="18900000">
              <a:off x="-593721" y="4583741"/>
              <a:ext cx="1354347" cy="1354347"/>
            </a:xfrm>
            <a:prstGeom prst="roundRect">
              <a:avLst/>
            </a:prstGeom>
            <a:noFill/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C5B5652C-1DC8-4D78-B762-3A80D5B57344}"/>
                </a:ext>
              </a:extLst>
            </p:cNvPr>
            <p:cNvSpPr/>
            <p:nvPr/>
          </p:nvSpPr>
          <p:spPr>
            <a:xfrm rot="18900000">
              <a:off x="-593720" y="6369410"/>
              <a:ext cx="1354347" cy="1354347"/>
            </a:xfrm>
            <a:prstGeom prst="roundRect">
              <a:avLst/>
            </a:prstGeom>
            <a:noFill/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EDA7A6C2-4EEE-4AC8-9A1B-741C1DE2E446}"/>
                </a:ext>
              </a:extLst>
            </p:cNvPr>
            <p:cNvSpPr/>
            <p:nvPr/>
          </p:nvSpPr>
          <p:spPr>
            <a:xfrm rot="18900000">
              <a:off x="531546" y="3690907"/>
              <a:ext cx="1354347" cy="1354347"/>
            </a:xfrm>
            <a:prstGeom prst="roundRect">
              <a:avLst/>
            </a:prstGeom>
            <a:noFill/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: Rounded Corners 10">
              <a:extLst>
                <a:ext uri="{FF2B5EF4-FFF2-40B4-BE49-F238E27FC236}">
                  <a16:creationId xmlns:a16="http://schemas.microsoft.com/office/drawing/2014/main" id="{0BE8859B-D620-4D3F-88BD-169E8E728135}"/>
                </a:ext>
              </a:extLst>
            </p:cNvPr>
            <p:cNvSpPr/>
            <p:nvPr/>
          </p:nvSpPr>
          <p:spPr>
            <a:xfrm rot="18900000">
              <a:off x="531547" y="5476576"/>
              <a:ext cx="1354347" cy="1354347"/>
            </a:xfrm>
            <a:prstGeom prst="roundRect">
              <a:avLst/>
            </a:prstGeom>
            <a:noFill/>
            <a:ln>
              <a:solidFill>
                <a:srgbClr val="1AA39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A08C0260-EDCE-41B7-A5E8-932C42F5D4ED}"/>
                </a:ext>
              </a:extLst>
            </p:cNvPr>
            <p:cNvSpPr/>
            <p:nvPr/>
          </p:nvSpPr>
          <p:spPr>
            <a:xfrm rot="18900000">
              <a:off x="1656812" y="4583741"/>
              <a:ext cx="1354347" cy="1354347"/>
            </a:xfrm>
            <a:prstGeom prst="roundRect">
              <a:avLst/>
            </a:prstGeom>
            <a:noFill/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E6FAD573-7540-407E-A530-DB6CA6A80BDC}"/>
                </a:ext>
              </a:extLst>
            </p:cNvPr>
            <p:cNvSpPr/>
            <p:nvPr/>
          </p:nvSpPr>
          <p:spPr>
            <a:xfrm rot="18900000">
              <a:off x="1656813" y="6369410"/>
              <a:ext cx="1354347" cy="1354347"/>
            </a:xfrm>
            <a:prstGeom prst="roundRect">
              <a:avLst/>
            </a:prstGeom>
            <a:noFill/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BC9E3436-BF30-4145-A538-A38F2EF9D385}"/>
                </a:ext>
              </a:extLst>
            </p:cNvPr>
            <p:cNvSpPr/>
            <p:nvPr/>
          </p:nvSpPr>
          <p:spPr>
            <a:xfrm rot="18900000">
              <a:off x="123991" y="5961858"/>
              <a:ext cx="2169452" cy="2169452"/>
            </a:xfrm>
            <a:prstGeom prst="roundRect">
              <a:avLst/>
            </a:prstGeom>
            <a:noFill/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6" name="Rectangle 15">
            <a:extLst>
              <a:ext uri="{FF2B5EF4-FFF2-40B4-BE49-F238E27FC236}">
                <a16:creationId xmlns:a16="http://schemas.microsoft.com/office/drawing/2014/main" id="{EF9B11AE-6FB6-4B87-8E89-E1D065DB0E34}"/>
              </a:ext>
            </a:extLst>
          </p:cNvPr>
          <p:cNvSpPr/>
          <p:nvPr userDrawn="1"/>
        </p:nvSpPr>
        <p:spPr>
          <a:xfrm>
            <a:off x="0" y="3429000"/>
            <a:ext cx="4432300" cy="3429000"/>
          </a:xfrm>
          <a:prstGeom prst="rect">
            <a:avLst/>
          </a:prstGeom>
          <a:solidFill>
            <a:schemeClr val="bg1">
              <a:alpha val="6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6437C02-0FE9-4694-A7B5-DAA2E7F928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8F56C0-0FED-4FC9-A8FD-8409CAAB40D2}" type="datetimeFigureOut">
              <a:rPr lang="en-US" smtClean="0"/>
              <a:t>7/3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6259E44-CD78-4CC7-8AA4-C4FF8D3688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953EE96-960C-45FC-BB52-209ED24418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3DEBBE-1EFA-4D2E-88F5-083B206EF4A4}" type="slidenum">
              <a:rPr lang="en-US" smtClean="0"/>
              <a:t>‹#›</a:t>
            </a:fld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D2EF540-DE6E-4F6A-A782-50F96103DA3E}"/>
              </a:ext>
            </a:extLst>
          </p:cNvPr>
          <p:cNvSpPr/>
          <p:nvPr userDrawn="1"/>
        </p:nvSpPr>
        <p:spPr>
          <a:xfrm>
            <a:off x="11747500" y="366740"/>
            <a:ext cx="444500" cy="444500"/>
          </a:xfrm>
          <a:prstGeom prst="rect">
            <a:avLst/>
          </a:prstGeom>
          <a:solidFill>
            <a:srgbClr val="F6AF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107312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bg>
      <p:bgPr>
        <a:pattFill prst="divot">
          <a:fgClr>
            <a:schemeClr val="bg1">
              <a:lumMod val="8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0B000C-FC65-46E4-B365-8E7245F1D2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7F9028A-40EC-4A2A-9587-F9196CEDF00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7378938-3B43-4BD8-9B86-588F5985CE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DFA0F7-84FD-46DF-989E-91FBE20BD392}" type="datetimeFigureOut">
              <a:rPr lang="en-US" smtClean="0"/>
              <a:t>7/3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27B7BF8-9AA5-48A4-A9D7-4366B05E0E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1DD3802-5EB8-4E8B-8AD0-2FD075A789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C45652-25C1-4BF0-A3A9-200AF1F974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16799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bg>
      <p:bgPr>
        <a:pattFill prst="divot">
          <a:fgClr>
            <a:schemeClr val="bg1">
              <a:lumMod val="8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24C5CC-F85E-4997-AF07-BD70FABC5E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CE501C4-31F4-4A4C-ABA2-4BD5A399EAB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ECB9732-B20A-4118-A45C-52C4DE0D49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DFA0F7-84FD-46DF-989E-91FBE20BD392}" type="datetimeFigureOut">
              <a:rPr lang="en-US" smtClean="0"/>
              <a:t>7/3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D6E6101-1A57-46A5-8C07-7369B50A22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53DDFB-8758-4DD7-A559-F726FA0256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C45652-25C1-4BF0-A3A9-200AF1F974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709292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bg>
      <p:bgPr>
        <a:pattFill prst="divot">
          <a:fgClr>
            <a:schemeClr val="bg1">
              <a:lumMod val="8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CB4FC09-E94D-4DC0-994C-37AD579178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DFA0F7-84FD-46DF-989E-91FBE20BD392}" type="datetimeFigureOut">
              <a:rPr lang="en-US" smtClean="0"/>
              <a:t>7/3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9C78D5F-2263-4CC4-9EFB-D379A33749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F16E6F9-B663-447A-A5C1-84F6C4E4E5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C45652-25C1-4BF0-A3A9-200AF1F974E6}" type="slidenum">
              <a:rPr lang="en-US" smtClean="0"/>
              <a:t>‹#›</a:t>
            </a:fld>
            <a:endParaRPr lang="en-US"/>
          </a:p>
        </p:txBody>
      </p:sp>
      <p:sp>
        <p:nvSpPr>
          <p:cNvPr id="8" name="Frame 7">
            <a:extLst>
              <a:ext uri="{FF2B5EF4-FFF2-40B4-BE49-F238E27FC236}">
                <a16:creationId xmlns:a16="http://schemas.microsoft.com/office/drawing/2014/main" id="{2CFE7B1B-BD4C-4BB4-87EE-2541304459AB}"/>
              </a:ext>
            </a:extLst>
          </p:cNvPr>
          <p:cNvSpPr/>
          <p:nvPr userDrawn="1"/>
        </p:nvSpPr>
        <p:spPr>
          <a:xfrm rot="1800000">
            <a:off x="8308922" y="4678937"/>
            <a:ext cx="3426042" cy="3426042"/>
          </a:xfrm>
          <a:prstGeom prst="frame">
            <a:avLst>
              <a:gd name="adj1" fmla="val 7637"/>
            </a:avLst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534785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bg>
      <p:bgPr>
        <a:pattFill prst="divot">
          <a:fgClr>
            <a:schemeClr val="bg1">
              <a:lumMod val="8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0AAC8CEE-581D-45BE-ADF6-D8CFE140C6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DFA0F7-84FD-46DF-989E-91FBE20BD392}" type="datetimeFigureOut">
              <a:rPr lang="en-US" smtClean="0"/>
              <a:t>7/3/2019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D7AE28F-6A23-42BA-8C40-F0F2D59052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AABA364-086D-404F-A888-000736C48C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C45652-25C1-4BF0-A3A9-200AF1F974E6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Frame 9">
            <a:extLst>
              <a:ext uri="{FF2B5EF4-FFF2-40B4-BE49-F238E27FC236}">
                <a16:creationId xmlns:a16="http://schemas.microsoft.com/office/drawing/2014/main" id="{1DD6419E-422B-42A1-8723-DD27E834A236}"/>
              </a:ext>
            </a:extLst>
          </p:cNvPr>
          <p:cNvSpPr/>
          <p:nvPr userDrawn="1"/>
        </p:nvSpPr>
        <p:spPr>
          <a:xfrm rot="1800000">
            <a:off x="-1102789" y="-1501715"/>
            <a:ext cx="3232961" cy="3232961"/>
          </a:xfrm>
          <a:prstGeom prst="frame">
            <a:avLst>
              <a:gd name="adj1" fmla="val 7637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568736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pattFill prst="divot">
          <a:fgClr>
            <a:schemeClr val="bg1">
              <a:lumMod val="8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A4343A1-0FDF-4F14-A155-E0823B90BE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DFA0F7-84FD-46DF-989E-91FBE20BD392}" type="datetimeFigureOut">
              <a:rPr lang="en-US" smtClean="0"/>
              <a:t>7/3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F4015D4-880B-44A2-8284-999B901DF6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5E02496-5939-4261-9B5C-15A7C630ED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C45652-25C1-4BF0-A3A9-200AF1F974E6}" type="slidenum">
              <a:rPr lang="en-US" smtClean="0"/>
              <a:t>‹#›</a:t>
            </a:fld>
            <a:endParaRPr lang="en-US"/>
          </a:p>
        </p:txBody>
      </p:sp>
      <p:sp>
        <p:nvSpPr>
          <p:cNvPr id="6" name="Frame 5">
            <a:extLst>
              <a:ext uri="{FF2B5EF4-FFF2-40B4-BE49-F238E27FC236}">
                <a16:creationId xmlns:a16="http://schemas.microsoft.com/office/drawing/2014/main" id="{13D5F096-646B-43E9-BDA8-13CF312D7DB3}"/>
              </a:ext>
            </a:extLst>
          </p:cNvPr>
          <p:cNvSpPr/>
          <p:nvPr userDrawn="1"/>
        </p:nvSpPr>
        <p:spPr>
          <a:xfrm rot="1800000">
            <a:off x="8308922" y="4678937"/>
            <a:ext cx="3426042" cy="3426042"/>
          </a:xfrm>
          <a:prstGeom prst="frame">
            <a:avLst>
              <a:gd name="adj1" fmla="val 7637"/>
            </a:avLst>
          </a:prstGeom>
          <a:gradFill>
            <a:gsLst>
              <a:gs pos="0">
                <a:srgbClr val="948E99"/>
              </a:gs>
              <a:gs pos="100000">
                <a:srgbClr val="2E1437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" name="Frame 6">
            <a:extLst>
              <a:ext uri="{FF2B5EF4-FFF2-40B4-BE49-F238E27FC236}">
                <a16:creationId xmlns:a16="http://schemas.microsoft.com/office/drawing/2014/main" id="{9B1DE806-4DC5-4AE8-9931-3CEA21C7660B}"/>
              </a:ext>
            </a:extLst>
          </p:cNvPr>
          <p:cNvSpPr/>
          <p:nvPr userDrawn="1"/>
        </p:nvSpPr>
        <p:spPr>
          <a:xfrm rot="1800000">
            <a:off x="-929780" y="-2147393"/>
            <a:ext cx="4178300" cy="4178300"/>
          </a:xfrm>
          <a:prstGeom prst="frame">
            <a:avLst>
              <a:gd name="adj1" fmla="val 7637"/>
            </a:avLst>
          </a:prstGeom>
          <a:gradFill>
            <a:gsLst>
              <a:gs pos="0">
                <a:srgbClr val="FF6B6B"/>
              </a:gs>
              <a:gs pos="100000">
                <a:srgbClr val="2E1437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635634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pattFill prst="divot">
          <a:fgClr>
            <a:schemeClr val="bg1">
              <a:lumMod val="8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F70B3EA-DFB8-4822-9B1C-9F57F27574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DFA0F7-84FD-46DF-989E-91FBE20BD392}" type="datetimeFigureOut">
              <a:rPr lang="en-US" smtClean="0"/>
              <a:t>7/3/2019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4CCAE47-3453-43A5-BAD3-6922C14F95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CE86C5A-9763-499E-B37E-C11488BCCE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C45652-25C1-4BF0-A3A9-200AF1F974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087728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bg>
      <p:bgPr>
        <a:pattFill prst="divot">
          <a:fgClr>
            <a:schemeClr val="bg1">
              <a:lumMod val="8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291DFB-1A1C-4B17-8A96-6EA4E357E2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C58101B-01D9-4BD0-9398-A5AE396DB4A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D847598-8721-4632-904B-02368FF5008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DC3ABA8-B095-4C06-A97D-A97EFC2F99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DFA0F7-84FD-46DF-989E-91FBE20BD392}" type="datetimeFigureOut">
              <a:rPr lang="en-US" smtClean="0"/>
              <a:t>7/3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6303D22-AE1D-447C-A704-7BC8A6DBFD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74C71C9-58FB-4338-84FA-A2ED7A2149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C45652-25C1-4BF0-A3A9-200AF1F974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987792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bg>
      <p:bgPr>
        <a:pattFill prst="divot">
          <a:fgClr>
            <a:schemeClr val="bg1">
              <a:lumMod val="8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A6E198-19EF-4711-95A3-036E589B04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690B0D2-238A-4087-8297-A3BD3C6E266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B0DE49F-D3C1-417C-AD18-217FF0ED2A3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6E5ED9D-5477-47D1-BFB1-3CB3A13A24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DFA0F7-84FD-46DF-989E-91FBE20BD392}" type="datetimeFigureOut">
              <a:rPr lang="en-US" smtClean="0"/>
              <a:t>7/3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3E35439-607F-4A73-8B10-0506B19C12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813414C-775E-45F2-980A-92F808AFC9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C45652-25C1-4BF0-A3A9-200AF1F974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52649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pattFill prst="divot">
          <a:fgClr>
            <a:schemeClr val="bg1">
              <a:lumMod val="8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2179D2B-7BC4-42F7-802C-B8C1935FC3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055949B-811B-4575-8007-ECF4405126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8E77501-9B17-4E7B-9DE0-EEB14514156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9DFA0F7-84FD-46DF-989E-91FBE20BD392}" type="datetimeFigureOut">
              <a:rPr lang="en-US" smtClean="0"/>
              <a:t>7/3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9C4CD1-0889-4656-A939-7ED240FB127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7093DA2-D9BC-4E23-9FE6-682F83C7C9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C45652-25C1-4BF0-A3A9-200AF1F974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97669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4.xml"/><Relationship Id="rId4" Type="http://schemas.openxmlformats.org/officeDocument/2006/relationships/tags" Target="../tags/tag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5.emf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8E47D92D-29BB-475B-AE21-546CBBF5B10E}"/>
              </a:ext>
            </a:extLst>
          </p:cNvPr>
          <p:cNvSpPr txBox="1"/>
          <p:nvPr/>
        </p:nvSpPr>
        <p:spPr>
          <a:xfrm>
            <a:off x="4283242" y="2338137"/>
            <a:ext cx="3886200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ko-KR" altLang="en-US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당신이 원하는 강의를 검색하세요</a:t>
            </a:r>
            <a:endParaRPr lang="ko-KR" altLang="en-US">
              <a:solidFill>
                <a:schemeClr val="tx1">
                  <a:lumMod val="75000"/>
                  <a:lumOff val="25000"/>
                </a:schemeClr>
              </a:solidFill>
              <a:ea typeface="바탕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FC10FF2-A030-4DF9-B3E9-80BF47367006}"/>
              </a:ext>
            </a:extLst>
          </p:cNvPr>
          <p:cNvSpPr txBox="1"/>
          <p:nvPr/>
        </p:nvSpPr>
        <p:spPr>
          <a:xfrm>
            <a:off x="2552700" y="2640208"/>
            <a:ext cx="7086600" cy="1354217"/>
          </a:xfrm>
          <a:prstGeom prst="rect">
            <a:avLst/>
          </a:prstGeom>
          <a:noFill/>
          <a:effectLst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8800" b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Segoe UI Black"/>
                <a:cs typeface="Segoe UI"/>
              </a:rPr>
              <a:t>WWW</a:t>
            </a:r>
            <a:endParaRPr lang="en-US" sz="880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771A1A23-22BA-4037-8CF8-857D3A9F9A37}"/>
              </a:ext>
            </a:extLst>
          </p:cNvPr>
          <p:cNvCxnSpPr>
            <a:cxnSpLocks/>
          </p:cNvCxnSpPr>
          <p:nvPr/>
        </p:nvCxnSpPr>
        <p:spPr>
          <a:xfrm>
            <a:off x="9639300" y="3317316"/>
            <a:ext cx="2552700" cy="0"/>
          </a:xfrm>
          <a:prstGeom prst="line">
            <a:avLst/>
          </a:prstGeom>
          <a:ln>
            <a:solidFill>
              <a:srgbClr val="2E1437"/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Oval 11">
            <a:extLst>
              <a:ext uri="{FF2B5EF4-FFF2-40B4-BE49-F238E27FC236}">
                <a16:creationId xmlns:a16="http://schemas.microsoft.com/office/drawing/2014/main" id="{83CBD94D-E078-4A95-A65C-0DD0BF737737}"/>
              </a:ext>
            </a:extLst>
          </p:cNvPr>
          <p:cNvSpPr/>
          <p:nvPr/>
        </p:nvSpPr>
        <p:spPr>
          <a:xfrm>
            <a:off x="8850313" y="5994400"/>
            <a:ext cx="2841624" cy="4064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033" name="Group 1032">
            <a:extLst>
              <a:ext uri="{FF2B5EF4-FFF2-40B4-BE49-F238E27FC236}">
                <a16:creationId xmlns:a16="http://schemas.microsoft.com/office/drawing/2014/main" id="{1F054A9A-F76D-4823-94F6-75E3973A03A8}"/>
              </a:ext>
            </a:extLst>
          </p:cNvPr>
          <p:cNvGrpSpPr/>
          <p:nvPr/>
        </p:nvGrpSpPr>
        <p:grpSpPr>
          <a:xfrm>
            <a:off x="8375650" y="617538"/>
            <a:ext cx="3175000" cy="5622925"/>
            <a:chOff x="8375650" y="617538"/>
            <a:chExt cx="3175000" cy="5622925"/>
          </a:xfrm>
        </p:grpSpPr>
        <p:sp>
          <p:nvSpPr>
            <p:cNvPr id="28" name="Freeform 5">
              <a:extLst>
                <a:ext uri="{FF2B5EF4-FFF2-40B4-BE49-F238E27FC236}">
                  <a16:creationId xmlns:a16="http://schemas.microsoft.com/office/drawing/2014/main" id="{60B48E3A-142F-4A91-8477-E09A4EDADE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77463" y="974726"/>
              <a:ext cx="854075" cy="492125"/>
            </a:xfrm>
            <a:custGeom>
              <a:avLst/>
              <a:gdLst>
                <a:gd name="T0" fmla="*/ 119 w 133"/>
                <a:gd name="T1" fmla="*/ 0 h 77"/>
                <a:gd name="T2" fmla="*/ 132 w 133"/>
                <a:gd name="T3" fmla="*/ 45 h 77"/>
                <a:gd name="T4" fmla="*/ 133 w 133"/>
                <a:gd name="T5" fmla="*/ 51 h 77"/>
                <a:gd name="T6" fmla="*/ 121 w 133"/>
                <a:gd name="T7" fmla="*/ 64 h 77"/>
                <a:gd name="T8" fmla="*/ 102 w 133"/>
                <a:gd name="T9" fmla="*/ 61 h 77"/>
                <a:gd name="T10" fmla="*/ 87 w 133"/>
                <a:gd name="T11" fmla="*/ 72 h 77"/>
                <a:gd name="T12" fmla="*/ 0 w 133"/>
                <a:gd name="T13" fmla="*/ 61 h 77"/>
                <a:gd name="T14" fmla="*/ 28 w 133"/>
                <a:gd name="T15" fmla="*/ 8 h 77"/>
                <a:gd name="T16" fmla="*/ 96 w 133"/>
                <a:gd name="T17" fmla="*/ 11 h 77"/>
                <a:gd name="T18" fmla="*/ 108 w 133"/>
                <a:gd name="T19" fmla="*/ 10 h 77"/>
                <a:gd name="T20" fmla="*/ 116 w 133"/>
                <a:gd name="T21" fmla="*/ 1 h 77"/>
                <a:gd name="T22" fmla="*/ 119 w 133"/>
                <a:gd name="T23" fmla="*/ 0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3" h="77">
                  <a:moveTo>
                    <a:pt x="119" y="0"/>
                  </a:moveTo>
                  <a:cubicBezTo>
                    <a:pt x="123" y="15"/>
                    <a:pt x="128" y="30"/>
                    <a:pt x="132" y="45"/>
                  </a:cubicBezTo>
                  <a:cubicBezTo>
                    <a:pt x="133" y="47"/>
                    <a:pt x="133" y="49"/>
                    <a:pt x="133" y="51"/>
                  </a:cubicBezTo>
                  <a:cubicBezTo>
                    <a:pt x="133" y="57"/>
                    <a:pt x="127" y="62"/>
                    <a:pt x="121" y="64"/>
                  </a:cubicBezTo>
                  <a:cubicBezTo>
                    <a:pt x="115" y="65"/>
                    <a:pt x="109" y="63"/>
                    <a:pt x="102" y="61"/>
                  </a:cubicBezTo>
                  <a:cubicBezTo>
                    <a:pt x="101" y="68"/>
                    <a:pt x="93" y="71"/>
                    <a:pt x="87" y="72"/>
                  </a:cubicBezTo>
                  <a:cubicBezTo>
                    <a:pt x="58" y="77"/>
                    <a:pt x="27" y="73"/>
                    <a:pt x="0" y="61"/>
                  </a:cubicBezTo>
                  <a:cubicBezTo>
                    <a:pt x="12" y="45"/>
                    <a:pt x="21" y="27"/>
                    <a:pt x="28" y="8"/>
                  </a:cubicBezTo>
                  <a:cubicBezTo>
                    <a:pt x="51" y="9"/>
                    <a:pt x="74" y="10"/>
                    <a:pt x="96" y="11"/>
                  </a:cubicBezTo>
                  <a:cubicBezTo>
                    <a:pt x="100" y="11"/>
                    <a:pt x="104" y="11"/>
                    <a:pt x="108" y="10"/>
                  </a:cubicBezTo>
                  <a:cubicBezTo>
                    <a:pt x="112" y="8"/>
                    <a:pt x="115" y="5"/>
                    <a:pt x="116" y="1"/>
                  </a:cubicBezTo>
                  <a:cubicBezTo>
                    <a:pt x="119" y="0"/>
                    <a:pt x="119" y="0"/>
                    <a:pt x="119" y="0"/>
                  </a:cubicBezTo>
                </a:path>
              </a:pathLst>
            </a:custGeom>
            <a:solidFill>
              <a:srgbClr val="F17F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6">
              <a:extLst>
                <a:ext uri="{FF2B5EF4-FFF2-40B4-BE49-F238E27FC236}">
                  <a16:creationId xmlns:a16="http://schemas.microsoft.com/office/drawing/2014/main" id="{B53609FF-1ED7-41E0-B709-2C1DDBD019B9}"/>
                </a:ext>
              </a:extLst>
            </p:cNvPr>
            <p:cNvSpPr>
              <a:spLocks/>
            </p:cNvSpPr>
            <p:nvPr/>
          </p:nvSpPr>
          <p:spPr bwMode="auto">
            <a:xfrm>
              <a:off x="8683625" y="1952626"/>
              <a:ext cx="557213" cy="466725"/>
            </a:xfrm>
            <a:custGeom>
              <a:avLst/>
              <a:gdLst>
                <a:gd name="T0" fmla="*/ 87 w 87"/>
                <a:gd name="T1" fmla="*/ 44 h 73"/>
                <a:gd name="T2" fmla="*/ 81 w 87"/>
                <a:gd name="T3" fmla="*/ 36 h 73"/>
                <a:gd name="T4" fmla="*/ 69 w 87"/>
                <a:gd name="T5" fmla="*/ 23 h 73"/>
                <a:gd name="T6" fmla="*/ 65 w 87"/>
                <a:gd name="T7" fmla="*/ 16 h 73"/>
                <a:gd name="T8" fmla="*/ 63 w 87"/>
                <a:gd name="T9" fmla="*/ 5 h 73"/>
                <a:gd name="T10" fmla="*/ 57 w 87"/>
                <a:gd name="T11" fmla="*/ 3 h 73"/>
                <a:gd name="T12" fmla="*/ 59 w 87"/>
                <a:gd name="T13" fmla="*/ 24 h 73"/>
                <a:gd name="T14" fmla="*/ 43 w 87"/>
                <a:gd name="T15" fmla="*/ 23 h 73"/>
                <a:gd name="T16" fmla="*/ 18 w 87"/>
                <a:gd name="T17" fmla="*/ 14 h 73"/>
                <a:gd name="T18" fmla="*/ 22 w 87"/>
                <a:gd name="T19" fmla="*/ 22 h 73"/>
                <a:gd name="T20" fmla="*/ 41 w 87"/>
                <a:gd name="T21" fmla="*/ 36 h 73"/>
                <a:gd name="T22" fmla="*/ 12 w 87"/>
                <a:gd name="T23" fmla="*/ 24 h 73"/>
                <a:gd name="T24" fmla="*/ 5 w 87"/>
                <a:gd name="T25" fmla="*/ 24 h 73"/>
                <a:gd name="T26" fmla="*/ 35 w 87"/>
                <a:gd name="T27" fmla="*/ 43 h 73"/>
                <a:gd name="T28" fmla="*/ 33 w 87"/>
                <a:gd name="T29" fmla="*/ 46 h 73"/>
                <a:gd name="T30" fmla="*/ 2 w 87"/>
                <a:gd name="T31" fmla="*/ 37 h 73"/>
                <a:gd name="T32" fmla="*/ 31 w 87"/>
                <a:gd name="T33" fmla="*/ 54 h 73"/>
                <a:gd name="T34" fmla="*/ 21 w 87"/>
                <a:gd name="T35" fmla="*/ 53 h 73"/>
                <a:gd name="T36" fmla="*/ 8 w 87"/>
                <a:gd name="T37" fmla="*/ 51 h 73"/>
                <a:gd name="T38" fmla="*/ 21 w 87"/>
                <a:gd name="T39" fmla="*/ 60 h 73"/>
                <a:gd name="T40" fmla="*/ 80 w 87"/>
                <a:gd name="T41" fmla="*/ 73 h 73"/>
                <a:gd name="T42" fmla="*/ 87 w 87"/>
                <a:gd name="T43" fmla="*/ 43 h 73"/>
                <a:gd name="T44" fmla="*/ 87 w 87"/>
                <a:gd name="T45" fmla="*/ 44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7" h="73">
                  <a:moveTo>
                    <a:pt x="87" y="44"/>
                  </a:moveTo>
                  <a:cubicBezTo>
                    <a:pt x="81" y="36"/>
                    <a:pt x="81" y="36"/>
                    <a:pt x="81" y="36"/>
                  </a:cubicBezTo>
                  <a:cubicBezTo>
                    <a:pt x="81" y="36"/>
                    <a:pt x="76" y="32"/>
                    <a:pt x="69" y="23"/>
                  </a:cubicBezTo>
                  <a:cubicBezTo>
                    <a:pt x="67" y="21"/>
                    <a:pt x="66" y="19"/>
                    <a:pt x="65" y="16"/>
                  </a:cubicBezTo>
                  <a:cubicBezTo>
                    <a:pt x="64" y="12"/>
                    <a:pt x="63" y="8"/>
                    <a:pt x="63" y="5"/>
                  </a:cubicBezTo>
                  <a:cubicBezTo>
                    <a:pt x="63" y="2"/>
                    <a:pt x="59" y="0"/>
                    <a:pt x="57" y="3"/>
                  </a:cubicBezTo>
                  <a:cubicBezTo>
                    <a:pt x="55" y="5"/>
                    <a:pt x="55" y="14"/>
                    <a:pt x="59" y="24"/>
                  </a:cubicBezTo>
                  <a:cubicBezTo>
                    <a:pt x="63" y="34"/>
                    <a:pt x="48" y="26"/>
                    <a:pt x="43" y="23"/>
                  </a:cubicBezTo>
                  <a:cubicBezTo>
                    <a:pt x="38" y="20"/>
                    <a:pt x="20" y="13"/>
                    <a:pt x="18" y="14"/>
                  </a:cubicBezTo>
                  <a:cubicBezTo>
                    <a:pt x="15" y="15"/>
                    <a:pt x="16" y="19"/>
                    <a:pt x="22" y="22"/>
                  </a:cubicBezTo>
                  <a:cubicBezTo>
                    <a:pt x="27" y="24"/>
                    <a:pt x="43" y="33"/>
                    <a:pt x="41" y="36"/>
                  </a:cubicBezTo>
                  <a:cubicBezTo>
                    <a:pt x="40" y="39"/>
                    <a:pt x="12" y="24"/>
                    <a:pt x="12" y="24"/>
                  </a:cubicBezTo>
                  <a:cubicBezTo>
                    <a:pt x="12" y="24"/>
                    <a:pt x="7" y="20"/>
                    <a:pt x="5" y="24"/>
                  </a:cubicBezTo>
                  <a:cubicBezTo>
                    <a:pt x="2" y="29"/>
                    <a:pt x="32" y="42"/>
                    <a:pt x="35" y="43"/>
                  </a:cubicBezTo>
                  <a:cubicBezTo>
                    <a:pt x="37" y="44"/>
                    <a:pt x="35" y="47"/>
                    <a:pt x="33" y="46"/>
                  </a:cubicBezTo>
                  <a:cubicBezTo>
                    <a:pt x="31" y="45"/>
                    <a:pt x="6" y="32"/>
                    <a:pt x="2" y="37"/>
                  </a:cubicBezTo>
                  <a:cubicBezTo>
                    <a:pt x="0" y="42"/>
                    <a:pt x="27" y="48"/>
                    <a:pt x="31" y="54"/>
                  </a:cubicBezTo>
                  <a:cubicBezTo>
                    <a:pt x="33" y="57"/>
                    <a:pt x="27" y="55"/>
                    <a:pt x="21" y="53"/>
                  </a:cubicBezTo>
                  <a:cubicBezTo>
                    <a:pt x="15" y="51"/>
                    <a:pt x="9" y="49"/>
                    <a:pt x="8" y="51"/>
                  </a:cubicBezTo>
                  <a:cubicBezTo>
                    <a:pt x="7" y="53"/>
                    <a:pt x="6" y="54"/>
                    <a:pt x="21" y="60"/>
                  </a:cubicBezTo>
                  <a:cubicBezTo>
                    <a:pt x="37" y="65"/>
                    <a:pt x="80" y="73"/>
                    <a:pt x="80" y="73"/>
                  </a:cubicBezTo>
                  <a:cubicBezTo>
                    <a:pt x="87" y="43"/>
                    <a:pt x="87" y="43"/>
                    <a:pt x="87" y="43"/>
                  </a:cubicBezTo>
                  <a:cubicBezTo>
                    <a:pt x="87" y="44"/>
                    <a:pt x="87" y="44"/>
                    <a:pt x="87" y="44"/>
                  </a:cubicBezTo>
                </a:path>
              </a:pathLst>
            </a:custGeom>
            <a:solidFill>
              <a:srgbClr val="F295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7">
              <a:extLst>
                <a:ext uri="{FF2B5EF4-FFF2-40B4-BE49-F238E27FC236}">
                  <a16:creationId xmlns:a16="http://schemas.microsoft.com/office/drawing/2014/main" id="{4228F784-5520-4968-9090-573718456F4A}"/>
                </a:ext>
              </a:extLst>
            </p:cNvPr>
            <p:cNvSpPr>
              <a:spLocks/>
            </p:cNvSpPr>
            <p:nvPr/>
          </p:nvSpPr>
          <p:spPr bwMode="auto">
            <a:xfrm>
              <a:off x="9029700" y="1779588"/>
              <a:ext cx="1379538" cy="1036638"/>
            </a:xfrm>
            <a:custGeom>
              <a:avLst/>
              <a:gdLst>
                <a:gd name="T0" fmla="*/ 157 w 215"/>
                <a:gd name="T1" fmla="*/ 0 h 162"/>
                <a:gd name="T2" fmla="*/ 124 w 215"/>
                <a:gd name="T3" fmla="*/ 73 h 162"/>
                <a:gd name="T4" fmla="*/ 15 w 215"/>
                <a:gd name="T5" fmla="*/ 55 h 162"/>
                <a:gd name="T6" fmla="*/ 0 w 215"/>
                <a:gd name="T7" fmla="*/ 95 h 162"/>
                <a:gd name="T8" fmla="*/ 181 w 215"/>
                <a:gd name="T9" fmla="*/ 98 h 162"/>
                <a:gd name="T10" fmla="*/ 213 w 215"/>
                <a:gd name="T11" fmla="*/ 19 h 162"/>
                <a:gd name="T12" fmla="*/ 157 w 215"/>
                <a:gd name="T13" fmla="*/ 0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5" h="162">
                  <a:moveTo>
                    <a:pt x="157" y="0"/>
                  </a:moveTo>
                  <a:cubicBezTo>
                    <a:pt x="157" y="0"/>
                    <a:pt x="132" y="72"/>
                    <a:pt x="124" y="73"/>
                  </a:cubicBezTo>
                  <a:cubicBezTo>
                    <a:pt x="72" y="77"/>
                    <a:pt x="15" y="55"/>
                    <a:pt x="15" y="55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0" y="95"/>
                    <a:pt x="149" y="162"/>
                    <a:pt x="181" y="98"/>
                  </a:cubicBezTo>
                  <a:cubicBezTo>
                    <a:pt x="215" y="30"/>
                    <a:pt x="213" y="19"/>
                    <a:pt x="213" y="19"/>
                  </a:cubicBezTo>
                  <a:cubicBezTo>
                    <a:pt x="157" y="0"/>
                    <a:pt x="157" y="0"/>
                    <a:pt x="157" y="0"/>
                  </a:cubicBezTo>
                </a:path>
              </a:pathLst>
            </a:custGeom>
            <a:solidFill>
              <a:srgbClr val="F295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8">
              <a:extLst>
                <a:ext uri="{FF2B5EF4-FFF2-40B4-BE49-F238E27FC236}">
                  <a16:creationId xmlns:a16="http://schemas.microsoft.com/office/drawing/2014/main" id="{36D72753-6482-4774-85D1-4EDB9463AEC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55225" y="3448051"/>
              <a:ext cx="1482725" cy="2435225"/>
            </a:xfrm>
            <a:custGeom>
              <a:avLst/>
              <a:gdLst>
                <a:gd name="T0" fmla="*/ 0 w 231"/>
                <a:gd name="T1" fmla="*/ 145 h 381"/>
                <a:gd name="T2" fmla="*/ 201 w 231"/>
                <a:gd name="T3" fmla="*/ 381 h 381"/>
                <a:gd name="T4" fmla="*/ 231 w 231"/>
                <a:gd name="T5" fmla="*/ 344 h 381"/>
                <a:gd name="T6" fmla="*/ 85 w 231"/>
                <a:gd name="T7" fmla="*/ 163 h 381"/>
                <a:gd name="T8" fmla="*/ 125 w 231"/>
                <a:gd name="T9" fmla="*/ 20 h 381"/>
                <a:gd name="T10" fmla="*/ 77 w 231"/>
                <a:gd name="T11" fmla="*/ 0 h 381"/>
                <a:gd name="T12" fmla="*/ 0 w 231"/>
                <a:gd name="T13" fmla="*/ 145 h 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1" h="381">
                  <a:moveTo>
                    <a:pt x="0" y="145"/>
                  </a:moveTo>
                  <a:cubicBezTo>
                    <a:pt x="26" y="267"/>
                    <a:pt x="201" y="381"/>
                    <a:pt x="201" y="381"/>
                  </a:cubicBezTo>
                  <a:cubicBezTo>
                    <a:pt x="231" y="344"/>
                    <a:pt x="231" y="344"/>
                    <a:pt x="231" y="344"/>
                  </a:cubicBezTo>
                  <a:cubicBezTo>
                    <a:pt x="231" y="344"/>
                    <a:pt x="91" y="219"/>
                    <a:pt x="85" y="163"/>
                  </a:cubicBezTo>
                  <a:cubicBezTo>
                    <a:pt x="79" y="108"/>
                    <a:pt x="125" y="20"/>
                    <a:pt x="125" y="20"/>
                  </a:cubicBezTo>
                  <a:cubicBezTo>
                    <a:pt x="77" y="0"/>
                    <a:pt x="77" y="0"/>
                    <a:pt x="77" y="0"/>
                  </a:cubicBezTo>
                  <a:lnTo>
                    <a:pt x="0" y="145"/>
                  </a:lnTo>
                  <a:close/>
                </a:path>
              </a:pathLst>
            </a:custGeom>
            <a:solidFill>
              <a:srgbClr val="1F36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9">
              <a:extLst>
                <a:ext uri="{FF2B5EF4-FFF2-40B4-BE49-F238E27FC236}">
                  <a16:creationId xmlns:a16="http://schemas.microsoft.com/office/drawing/2014/main" id="{30637A9D-2398-48C1-B65E-D4BEC60D350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87000" y="719138"/>
              <a:ext cx="481013" cy="819150"/>
            </a:xfrm>
            <a:custGeom>
              <a:avLst/>
              <a:gdLst>
                <a:gd name="T0" fmla="*/ 23 w 75"/>
                <a:gd name="T1" fmla="*/ 128 h 128"/>
                <a:gd name="T2" fmla="*/ 22 w 75"/>
                <a:gd name="T3" fmla="*/ 102 h 128"/>
                <a:gd name="T4" fmla="*/ 1 w 75"/>
                <a:gd name="T5" fmla="*/ 80 h 128"/>
                <a:gd name="T6" fmla="*/ 1 w 75"/>
                <a:gd name="T7" fmla="*/ 17 h 128"/>
                <a:gd name="T8" fmla="*/ 36 w 75"/>
                <a:gd name="T9" fmla="*/ 0 h 128"/>
                <a:gd name="T10" fmla="*/ 75 w 75"/>
                <a:gd name="T11" fmla="*/ 29 h 128"/>
                <a:gd name="T12" fmla="*/ 69 w 75"/>
                <a:gd name="T13" fmla="*/ 125 h 128"/>
                <a:gd name="T14" fmla="*/ 23 w 75"/>
                <a:gd name="T15" fmla="*/ 128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5" h="128">
                  <a:moveTo>
                    <a:pt x="23" y="128"/>
                  </a:moveTo>
                  <a:cubicBezTo>
                    <a:pt x="24" y="123"/>
                    <a:pt x="22" y="102"/>
                    <a:pt x="22" y="102"/>
                  </a:cubicBezTo>
                  <a:cubicBezTo>
                    <a:pt x="22" y="102"/>
                    <a:pt x="3" y="100"/>
                    <a:pt x="1" y="80"/>
                  </a:cubicBezTo>
                  <a:cubicBezTo>
                    <a:pt x="0" y="61"/>
                    <a:pt x="1" y="17"/>
                    <a:pt x="1" y="17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75" y="29"/>
                    <a:pt x="75" y="29"/>
                    <a:pt x="75" y="29"/>
                  </a:cubicBezTo>
                  <a:cubicBezTo>
                    <a:pt x="69" y="125"/>
                    <a:pt x="69" y="125"/>
                    <a:pt x="69" y="125"/>
                  </a:cubicBezTo>
                  <a:cubicBezTo>
                    <a:pt x="23" y="128"/>
                    <a:pt x="23" y="128"/>
                    <a:pt x="23" y="128"/>
                  </a:cubicBezTo>
                </a:path>
              </a:pathLst>
            </a:custGeom>
            <a:solidFill>
              <a:srgbClr val="F6BA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10">
              <a:extLst>
                <a:ext uri="{FF2B5EF4-FFF2-40B4-BE49-F238E27FC236}">
                  <a16:creationId xmlns:a16="http://schemas.microsoft.com/office/drawing/2014/main" id="{310CAF0D-D34C-4425-BB44-2CD2DBCFD19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29850" y="617538"/>
              <a:ext cx="717550" cy="409575"/>
            </a:xfrm>
            <a:custGeom>
              <a:avLst/>
              <a:gdLst>
                <a:gd name="T0" fmla="*/ 81 w 112"/>
                <a:gd name="T1" fmla="*/ 60 h 64"/>
                <a:gd name="T2" fmla="*/ 44 w 112"/>
                <a:gd name="T3" fmla="*/ 29 h 64"/>
                <a:gd name="T4" fmla="*/ 10 w 112"/>
                <a:gd name="T5" fmla="*/ 60 h 64"/>
                <a:gd name="T6" fmla="*/ 19 w 112"/>
                <a:gd name="T7" fmla="*/ 19 h 64"/>
                <a:gd name="T8" fmla="*/ 58 w 112"/>
                <a:gd name="T9" fmla="*/ 4 h 64"/>
                <a:gd name="T10" fmla="*/ 110 w 112"/>
                <a:gd name="T11" fmla="*/ 51 h 64"/>
                <a:gd name="T12" fmla="*/ 112 w 112"/>
                <a:gd name="T13" fmla="*/ 64 h 64"/>
                <a:gd name="T14" fmla="*/ 81 w 112"/>
                <a:gd name="T15" fmla="*/ 6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2" h="64">
                  <a:moveTo>
                    <a:pt x="81" y="60"/>
                  </a:moveTo>
                  <a:cubicBezTo>
                    <a:pt x="81" y="60"/>
                    <a:pt x="50" y="57"/>
                    <a:pt x="44" y="29"/>
                  </a:cubicBezTo>
                  <a:cubicBezTo>
                    <a:pt x="10" y="60"/>
                    <a:pt x="10" y="60"/>
                    <a:pt x="10" y="60"/>
                  </a:cubicBezTo>
                  <a:cubicBezTo>
                    <a:pt x="10" y="60"/>
                    <a:pt x="0" y="39"/>
                    <a:pt x="19" y="19"/>
                  </a:cubicBezTo>
                  <a:cubicBezTo>
                    <a:pt x="38" y="0"/>
                    <a:pt x="51" y="4"/>
                    <a:pt x="58" y="4"/>
                  </a:cubicBezTo>
                  <a:cubicBezTo>
                    <a:pt x="65" y="4"/>
                    <a:pt x="100" y="11"/>
                    <a:pt x="110" y="51"/>
                  </a:cubicBezTo>
                  <a:cubicBezTo>
                    <a:pt x="111" y="54"/>
                    <a:pt x="112" y="61"/>
                    <a:pt x="112" y="64"/>
                  </a:cubicBezTo>
                  <a:lnTo>
                    <a:pt x="81" y="60"/>
                  </a:lnTo>
                  <a:close/>
                </a:path>
              </a:pathLst>
            </a:custGeom>
            <a:solidFill>
              <a:srgbClr val="F17F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11">
              <a:extLst>
                <a:ext uri="{FF2B5EF4-FFF2-40B4-BE49-F238E27FC236}">
                  <a16:creationId xmlns:a16="http://schemas.microsoft.com/office/drawing/2014/main" id="{7C5BA44F-16C1-4CE8-8FDA-FF890E43500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0838" y="1141413"/>
              <a:ext cx="103188" cy="50800"/>
            </a:xfrm>
            <a:custGeom>
              <a:avLst/>
              <a:gdLst>
                <a:gd name="T0" fmla="*/ 8 w 16"/>
                <a:gd name="T1" fmla="*/ 0 h 8"/>
                <a:gd name="T2" fmla="*/ 0 w 16"/>
                <a:gd name="T3" fmla="*/ 4 h 8"/>
                <a:gd name="T4" fmla="*/ 8 w 16"/>
                <a:gd name="T5" fmla="*/ 8 h 8"/>
                <a:gd name="T6" fmla="*/ 8 w 16"/>
                <a:gd name="T7" fmla="*/ 8 h 8"/>
                <a:gd name="T8" fmla="*/ 15 w 16"/>
                <a:gd name="T9" fmla="*/ 5 h 8"/>
                <a:gd name="T10" fmla="*/ 8 w 16"/>
                <a:gd name="T11" fmla="*/ 0 h 8"/>
                <a:gd name="T12" fmla="*/ 8 w 16"/>
                <a:gd name="T13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8">
                  <a:moveTo>
                    <a:pt x="8" y="0"/>
                  </a:moveTo>
                  <a:cubicBezTo>
                    <a:pt x="4" y="0"/>
                    <a:pt x="0" y="2"/>
                    <a:pt x="0" y="4"/>
                  </a:cubicBezTo>
                  <a:cubicBezTo>
                    <a:pt x="0" y="6"/>
                    <a:pt x="4" y="8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12" y="8"/>
                    <a:pt x="15" y="7"/>
                    <a:pt x="15" y="5"/>
                  </a:cubicBezTo>
                  <a:cubicBezTo>
                    <a:pt x="16" y="2"/>
                    <a:pt x="12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</a:path>
              </a:pathLst>
            </a:custGeom>
            <a:solidFill>
              <a:srgbClr val="F5AE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12">
              <a:extLst>
                <a:ext uri="{FF2B5EF4-FFF2-40B4-BE49-F238E27FC236}">
                  <a16:creationId xmlns:a16="http://schemas.microsoft.com/office/drawing/2014/main" id="{3A8FB5C1-F5C3-4052-B152-E23A2DE5957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09238" y="1166813"/>
              <a:ext cx="95250" cy="69850"/>
            </a:xfrm>
            <a:custGeom>
              <a:avLst/>
              <a:gdLst>
                <a:gd name="T0" fmla="*/ 12 w 15"/>
                <a:gd name="T1" fmla="*/ 1 h 11"/>
                <a:gd name="T2" fmla="*/ 0 w 15"/>
                <a:gd name="T3" fmla="*/ 6 h 11"/>
                <a:gd name="T4" fmla="*/ 8 w 15"/>
                <a:gd name="T5" fmla="*/ 8 h 11"/>
                <a:gd name="T6" fmla="*/ 12 w 15"/>
                <a:gd name="T7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1">
                  <a:moveTo>
                    <a:pt x="12" y="1"/>
                  </a:moveTo>
                  <a:cubicBezTo>
                    <a:pt x="15" y="0"/>
                    <a:pt x="5" y="6"/>
                    <a:pt x="0" y="6"/>
                  </a:cubicBezTo>
                  <a:cubicBezTo>
                    <a:pt x="0" y="6"/>
                    <a:pt x="3" y="11"/>
                    <a:pt x="8" y="8"/>
                  </a:cubicBezTo>
                  <a:cubicBezTo>
                    <a:pt x="14" y="6"/>
                    <a:pt x="12" y="1"/>
                    <a:pt x="12" y="1"/>
                  </a:cubicBezTo>
                  <a:close/>
                </a:path>
              </a:pathLst>
            </a:custGeom>
            <a:solidFill>
              <a:srgbClr val="F3F0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13">
              <a:extLst>
                <a:ext uri="{FF2B5EF4-FFF2-40B4-BE49-F238E27FC236}">
                  <a16:creationId xmlns:a16="http://schemas.microsoft.com/office/drawing/2014/main" id="{043D25C3-1656-4C47-AB76-DDC1ABF8751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28288" y="1314451"/>
              <a:ext cx="160338" cy="88900"/>
            </a:xfrm>
            <a:custGeom>
              <a:avLst/>
              <a:gdLst>
                <a:gd name="T0" fmla="*/ 0 w 25"/>
                <a:gd name="T1" fmla="*/ 9 h 14"/>
                <a:gd name="T2" fmla="*/ 25 w 25"/>
                <a:gd name="T3" fmla="*/ 0 h 14"/>
                <a:gd name="T4" fmla="*/ 0 w 25"/>
                <a:gd name="T5" fmla="*/ 13 h 14"/>
                <a:gd name="T6" fmla="*/ 0 w 25"/>
                <a:gd name="T7" fmla="*/ 9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" h="14">
                  <a:moveTo>
                    <a:pt x="0" y="9"/>
                  </a:moveTo>
                  <a:cubicBezTo>
                    <a:pt x="0" y="9"/>
                    <a:pt x="13" y="9"/>
                    <a:pt x="25" y="0"/>
                  </a:cubicBezTo>
                  <a:cubicBezTo>
                    <a:pt x="25" y="0"/>
                    <a:pt x="20" y="14"/>
                    <a:pt x="0" y="13"/>
                  </a:cubicBezTo>
                  <a:lnTo>
                    <a:pt x="0" y="9"/>
                  </a:lnTo>
                  <a:close/>
                </a:path>
              </a:pathLst>
            </a:custGeom>
            <a:solidFill>
              <a:srgbClr val="F295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14">
              <a:extLst>
                <a:ext uri="{FF2B5EF4-FFF2-40B4-BE49-F238E27FC236}">
                  <a16:creationId xmlns:a16="http://schemas.microsoft.com/office/drawing/2014/main" id="{5F34EBB7-B55C-4297-9EA9-B7E5CFE3A50B}"/>
                </a:ext>
              </a:extLst>
            </p:cNvPr>
            <p:cNvSpPr>
              <a:spLocks/>
            </p:cNvSpPr>
            <p:nvPr/>
          </p:nvSpPr>
          <p:spPr bwMode="auto">
            <a:xfrm>
              <a:off x="9928225" y="1498601"/>
              <a:ext cx="1192213" cy="1763713"/>
            </a:xfrm>
            <a:custGeom>
              <a:avLst/>
              <a:gdLst>
                <a:gd name="T0" fmla="*/ 38 w 186"/>
                <a:gd name="T1" fmla="*/ 221 h 276"/>
                <a:gd name="T2" fmla="*/ 41 w 186"/>
                <a:gd name="T3" fmla="*/ 237 h 276"/>
                <a:gd name="T4" fmla="*/ 176 w 186"/>
                <a:gd name="T5" fmla="*/ 276 h 276"/>
                <a:gd name="T6" fmla="*/ 161 w 186"/>
                <a:gd name="T7" fmla="*/ 181 h 276"/>
                <a:gd name="T8" fmla="*/ 157 w 186"/>
                <a:gd name="T9" fmla="*/ 124 h 276"/>
                <a:gd name="T10" fmla="*/ 173 w 186"/>
                <a:gd name="T11" fmla="*/ 60 h 276"/>
                <a:gd name="T12" fmla="*/ 152 w 186"/>
                <a:gd name="T13" fmla="*/ 0 h 276"/>
                <a:gd name="T14" fmla="*/ 66 w 186"/>
                <a:gd name="T15" fmla="*/ 6 h 276"/>
                <a:gd name="T16" fmla="*/ 0 w 186"/>
                <a:gd name="T17" fmla="*/ 66 h 276"/>
                <a:gd name="T18" fmla="*/ 31 w 186"/>
                <a:gd name="T19" fmla="*/ 114 h 276"/>
                <a:gd name="T20" fmla="*/ 32 w 186"/>
                <a:gd name="T21" fmla="*/ 132 h 276"/>
                <a:gd name="T22" fmla="*/ 38 w 186"/>
                <a:gd name="T23" fmla="*/ 221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6" h="276">
                  <a:moveTo>
                    <a:pt x="38" y="221"/>
                  </a:moveTo>
                  <a:cubicBezTo>
                    <a:pt x="38" y="228"/>
                    <a:pt x="41" y="237"/>
                    <a:pt x="41" y="237"/>
                  </a:cubicBezTo>
                  <a:cubicBezTo>
                    <a:pt x="176" y="276"/>
                    <a:pt x="176" y="276"/>
                    <a:pt x="176" y="276"/>
                  </a:cubicBezTo>
                  <a:cubicBezTo>
                    <a:pt x="176" y="276"/>
                    <a:pt x="186" y="215"/>
                    <a:pt x="161" y="181"/>
                  </a:cubicBezTo>
                  <a:cubicBezTo>
                    <a:pt x="150" y="165"/>
                    <a:pt x="152" y="143"/>
                    <a:pt x="157" y="124"/>
                  </a:cubicBezTo>
                  <a:cubicBezTo>
                    <a:pt x="173" y="60"/>
                    <a:pt x="173" y="60"/>
                    <a:pt x="173" y="60"/>
                  </a:cubicBezTo>
                  <a:cubicBezTo>
                    <a:pt x="152" y="0"/>
                    <a:pt x="152" y="0"/>
                    <a:pt x="152" y="0"/>
                  </a:cubicBezTo>
                  <a:cubicBezTo>
                    <a:pt x="66" y="6"/>
                    <a:pt x="66" y="6"/>
                    <a:pt x="66" y="6"/>
                  </a:cubicBezTo>
                  <a:cubicBezTo>
                    <a:pt x="66" y="6"/>
                    <a:pt x="17" y="1"/>
                    <a:pt x="0" y="66"/>
                  </a:cubicBezTo>
                  <a:cubicBezTo>
                    <a:pt x="31" y="114"/>
                    <a:pt x="31" y="114"/>
                    <a:pt x="31" y="114"/>
                  </a:cubicBezTo>
                  <a:cubicBezTo>
                    <a:pt x="32" y="132"/>
                    <a:pt x="32" y="132"/>
                    <a:pt x="32" y="132"/>
                  </a:cubicBezTo>
                  <a:cubicBezTo>
                    <a:pt x="38" y="221"/>
                    <a:pt x="38" y="221"/>
                    <a:pt x="38" y="221"/>
                  </a:cubicBezTo>
                </a:path>
              </a:pathLst>
            </a:custGeom>
            <a:solidFill>
              <a:srgbClr val="FCD5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15">
              <a:extLst>
                <a:ext uri="{FF2B5EF4-FFF2-40B4-BE49-F238E27FC236}">
                  <a16:creationId xmlns:a16="http://schemas.microsoft.com/office/drawing/2014/main" id="{93265ADD-AF75-4841-AD2E-810740221674}"/>
                </a:ext>
              </a:extLst>
            </p:cNvPr>
            <p:cNvSpPr>
              <a:spLocks/>
            </p:cNvSpPr>
            <p:nvPr/>
          </p:nvSpPr>
          <p:spPr bwMode="auto">
            <a:xfrm>
              <a:off x="9548813" y="2757488"/>
              <a:ext cx="1636713" cy="3425825"/>
            </a:xfrm>
            <a:custGeom>
              <a:avLst/>
              <a:gdLst>
                <a:gd name="T0" fmla="*/ 229 w 255"/>
                <a:gd name="T1" fmla="*/ 0 h 536"/>
                <a:gd name="T2" fmla="*/ 233 w 255"/>
                <a:gd name="T3" fmla="*/ 87 h 536"/>
                <a:gd name="T4" fmla="*/ 219 w 255"/>
                <a:gd name="T5" fmla="*/ 109 h 536"/>
                <a:gd name="T6" fmla="*/ 109 w 255"/>
                <a:gd name="T7" fmla="*/ 294 h 536"/>
                <a:gd name="T8" fmla="*/ 46 w 255"/>
                <a:gd name="T9" fmla="*/ 536 h 536"/>
                <a:gd name="T10" fmla="*/ 0 w 255"/>
                <a:gd name="T11" fmla="*/ 529 h 536"/>
                <a:gd name="T12" fmla="*/ 37 w 255"/>
                <a:gd name="T13" fmla="*/ 279 h 536"/>
                <a:gd name="T14" fmla="*/ 97 w 255"/>
                <a:gd name="T15" fmla="*/ 24 h 536"/>
                <a:gd name="T16" fmla="*/ 229 w 255"/>
                <a:gd name="T17" fmla="*/ 0 h 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5" h="536">
                  <a:moveTo>
                    <a:pt x="229" y="0"/>
                  </a:moveTo>
                  <a:cubicBezTo>
                    <a:pt x="231" y="0"/>
                    <a:pt x="255" y="55"/>
                    <a:pt x="233" y="87"/>
                  </a:cubicBezTo>
                  <a:cubicBezTo>
                    <a:pt x="231" y="90"/>
                    <a:pt x="226" y="98"/>
                    <a:pt x="219" y="109"/>
                  </a:cubicBezTo>
                  <a:cubicBezTo>
                    <a:pt x="186" y="159"/>
                    <a:pt x="111" y="277"/>
                    <a:pt x="109" y="294"/>
                  </a:cubicBezTo>
                  <a:cubicBezTo>
                    <a:pt x="106" y="315"/>
                    <a:pt x="46" y="536"/>
                    <a:pt x="46" y="536"/>
                  </a:cubicBezTo>
                  <a:cubicBezTo>
                    <a:pt x="0" y="529"/>
                    <a:pt x="0" y="529"/>
                    <a:pt x="0" y="529"/>
                  </a:cubicBezTo>
                  <a:cubicBezTo>
                    <a:pt x="37" y="279"/>
                    <a:pt x="37" y="279"/>
                    <a:pt x="37" y="279"/>
                  </a:cubicBezTo>
                  <a:cubicBezTo>
                    <a:pt x="97" y="24"/>
                    <a:pt x="97" y="24"/>
                    <a:pt x="97" y="24"/>
                  </a:cubicBezTo>
                  <a:lnTo>
                    <a:pt x="229" y="0"/>
                  </a:lnTo>
                  <a:close/>
                </a:path>
              </a:pathLst>
            </a:custGeom>
            <a:solidFill>
              <a:srgbClr val="2A47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16">
              <a:extLst>
                <a:ext uri="{FF2B5EF4-FFF2-40B4-BE49-F238E27FC236}">
                  <a16:creationId xmlns:a16="http://schemas.microsoft.com/office/drawing/2014/main" id="{5AFFCE00-7CC7-4837-AC35-BEA6143863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55250" y="738188"/>
              <a:ext cx="261938" cy="249238"/>
            </a:xfrm>
            <a:custGeom>
              <a:avLst/>
              <a:gdLst>
                <a:gd name="T0" fmla="*/ 41 w 41"/>
                <a:gd name="T1" fmla="*/ 7 h 39"/>
                <a:gd name="T2" fmla="*/ 37 w 41"/>
                <a:gd name="T3" fmla="*/ 31 h 39"/>
                <a:gd name="T4" fmla="*/ 7 w 41"/>
                <a:gd name="T5" fmla="*/ 39 h 39"/>
                <a:gd name="T6" fmla="*/ 41 w 41"/>
                <a:gd name="T7" fmla="*/ 7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1" h="39">
                  <a:moveTo>
                    <a:pt x="41" y="7"/>
                  </a:moveTo>
                  <a:cubicBezTo>
                    <a:pt x="41" y="7"/>
                    <a:pt x="34" y="21"/>
                    <a:pt x="37" y="31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7" y="39"/>
                    <a:pt x="0" y="0"/>
                    <a:pt x="41" y="7"/>
                  </a:cubicBezTo>
                  <a:close/>
                </a:path>
              </a:pathLst>
            </a:custGeom>
            <a:solidFill>
              <a:srgbClr val="F17F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17">
              <a:extLst>
                <a:ext uri="{FF2B5EF4-FFF2-40B4-BE49-F238E27FC236}">
                  <a16:creationId xmlns:a16="http://schemas.microsoft.com/office/drawing/2014/main" id="{BFDB55CD-8D49-4F2C-B02B-CA6412D6381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36263" y="1000126"/>
              <a:ext cx="236538" cy="339725"/>
            </a:xfrm>
            <a:custGeom>
              <a:avLst/>
              <a:gdLst>
                <a:gd name="T0" fmla="*/ 33 w 37"/>
                <a:gd name="T1" fmla="*/ 1 h 53"/>
                <a:gd name="T2" fmla="*/ 0 w 37"/>
                <a:gd name="T3" fmla="*/ 53 h 53"/>
                <a:gd name="T4" fmla="*/ 2 w 37"/>
                <a:gd name="T5" fmla="*/ 0 h 53"/>
                <a:gd name="T6" fmla="*/ 33 w 37"/>
                <a:gd name="T7" fmla="*/ 1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" h="53">
                  <a:moveTo>
                    <a:pt x="33" y="1"/>
                  </a:moveTo>
                  <a:cubicBezTo>
                    <a:pt x="33" y="1"/>
                    <a:pt x="37" y="45"/>
                    <a:pt x="0" y="53"/>
                  </a:cubicBezTo>
                  <a:cubicBezTo>
                    <a:pt x="2" y="0"/>
                    <a:pt x="2" y="0"/>
                    <a:pt x="2" y="0"/>
                  </a:cubicBezTo>
                  <a:lnTo>
                    <a:pt x="33" y="1"/>
                  </a:lnTo>
                  <a:close/>
                </a:path>
              </a:pathLst>
            </a:custGeom>
            <a:solidFill>
              <a:srgbClr val="F17F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pic>
          <p:nvPicPr>
            <p:cNvPr id="1043" name="Picture 19">
              <a:extLst>
                <a:ext uri="{FF2B5EF4-FFF2-40B4-BE49-F238E27FC236}">
                  <a16:creationId xmlns:a16="http://schemas.microsoft.com/office/drawing/2014/main" id="{2B27F6C3-E051-4DC6-A739-E33BF553A28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70925" y="1946276"/>
              <a:ext cx="500063" cy="4540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1" name="Freeform 22">
              <a:extLst>
                <a:ext uri="{FF2B5EF4-FFF2-40B4-BE49-F238E27FC236}">
                  <a16:creationId xmlns:a16="http://schemas.microsoft.com/office/drawing/2014/main" id="{F5536D6A-EB73-4607-8E8C-15C40FDC4BEE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5650" y="1825626"/>
              <a:ext cx="1673225" cy="714375"/>
            </a:xfrm>
            <a:custGeom>
              <a:avLst/>
              <a:gdLst>
                <a:gd name="T0" fmla="*/ 1054 w 1054"/>
                <a:gd name="T1" fmla="*/ 310 h 450"/>
                <a:gd name="T2" fmla="*/ 747 w 1054"/>
                <a:gd name="T3" fmla="*/ 438 h 450"/>
                <a:gd name="T4" fmla="*/ 246 w 1054"/>
                <a:gd name="T5" fmla="*/ 450 h 450"/>
                <a:gd name="T6" fmla="*/ 0 w 1054"/>
                <a:gd name="T7" fmla="*/ 36 h 450"/>
                <a:gd name="T8" fmla="*/ 517 w 1054"/>
                <a:gd name="T9" fmla="*/ 0 h 450"/>
                <a:gd name="T10" fmla="*/ 739 w 1054"/>
                <a:gd name="T11" fmla="*/ 402 h 450"/>
                <a:gd name="T12" fmla="*/ 1050 w 1054"/>
                <a:gd name="T13" fmla="*/ 281 h 450"/>
                <a:gd name="T14" fmla="*/ 1054 w 1054"/>
                <a:gd name="T15" fmla="*/ 310 h 4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54" h="450">
                  <a:moveTo>
                    <a:pt x="1054" y="310"/>
                  </a:moveTo>
                  <a:lnTo>
                    <a:pt x="747" y="438"/>
                  </a:lnTo>
                  <a:lnTo>
                    <a:pt x="246" y="450"/>
                  </a:lnTo>
                  <a:lnTo>
                    <a:pt x="0" y="36"/>
                  </a:lnTo>
                  <a:lnTo>
                    <a:pt x="517" y="0"/>
                  </a:lnTo>
                  <a:lnTo>
                    <a:pt x="739" y="402"/>
                  </a:lnTo>
                  <a:lnTo>
                    <a:pt x="1050" y="281"/>
                  </a:lnTo>
                  <a:lnTo>
                    <a:pt x="1054" y="310"/>
                  </a:lnTo>
                  <a:close/>
                </a:path>
              </a:pathLst>
            </a:custGeom>
            <a:solidFill>
              <a:srgbClr val="AFAF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23">
              <a:extLst>
                <a:ext uri="{FF2B5EF4-FFF2-40B4-BE49-F238E27FC236}">
                  <a16:creationId xmlns:a16="http://schemas.microsoft.com/office/drawing/2014/main" id="{9E484EFE-162C-457E-9996-A3D8A0D184A2}"/>
                </a:ext>
              </a:extLst>
            </p:cNvPr>
            <p:cNvSpPr>
              <a:spLocks/>
            </p:cNvSpPr>
            <p:nvPr/>
          </p:nvSpPr>
          <p:spPr bwMode="auto">
            <a:xfrm>
              <a:off x="9825038" y="1838326"/>
              <a:ext cx="333375" cy="479425"/>
            </a:xfrm>
            <a:custGeom>
              <a:avLst/>
              <a:gdLst>
                <a:gd name="T0" fmla="*/ 85 w 210"/>
                <a:gd name="T1" fmla="*/ 0 h 302"/>
                <a:gd name="T2" fmla="*/ 0 w 210"/>
                <a:gd name="T3" fmla="*/ 209 h 302"/>
                <a:gd name="T4" fmla="*/ 194 w 210"/>
                <a:gd name="T5" fmla="*/ 302 h 302"/>
                <a:gd name="T6" fmla="*/ 210 w 210"/>
                <a:gd name="T7" fmla="*/ 120 h 302"/>
                <a:gd name="T8" fmla="*/ 85 w 210"/>
                <a:gd name="T9" fmla="*/ 0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0" h="302">
                  <a:moveTo>
                    <a:pt x="85" y="0"/>
                  </a:moveTo>
                  <a:lnTo>
                    <a:pt x="0" y="209"/>
                  </a:lnTo>
                  <a:lnTo>
                    <a:pt x="194" y="302"/>
                  </a:lnTo>
                  <a:lnTo>
                    <a:pt x="210" y="120"/>
                  </a:lnTo>
                  <a:lnTo>
                    <a:pt x="85" y="0"/>
                  </a:lnTo>
                  <a:close/>
                </a:path>
              </a:pathLst>
            </a:custGeom>
            <a:solidFill>
              <a:srgbClr val="FCD5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24">
              <a:extLst>
                <a:ext uri="{FF2B5EF4-FFF2-40B4-BE49-F238E27FC236}">
                  <a16:creationId xmlns:a16="http://schemas.microsoft.com/office/drawing/2014/main" id="{FEFE037D-05ED-4BFC-9A5F-17AE3FD6407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37825" y="1441451"/>
              <a:ext cx="268288" cy="122238"/>
            </a:xfrm>
            <a:custGeom>
              <a:avLst/>
              <a:gdLst>
                <a:gd name="T0" fmla="*/ 169 w 169"/>
                <a:gd name="T1" fmla="*/ 40 h 77"/>
                <a:gd name="T2" fmla="*/ 137 w 169"/>
                <a:gd name="T3" fmla="*/ 0 h 77"/>
                <a:gd name="T4" fmla="*/ 0 w 169"/>
                <a:gd name="T5" fmla="*/ 36 h 77"/>
                <a:gd name="T6" fmla="*/ 16 w 169"/>
                <a:gd name="T7" fmla="*/ 77 h 77"/>
                <a:gd name="T8" fmla="*/ 169 w 169"/>
                <a:gd name="T9" fmla="*/ 40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9" h="77">
                  <a:moveTo>
                    <a:pt x="169" y="40"/>
                  </a:moveTo>
                  <a:lnTo>
                    <a:pt x="137" y="0"/>
                  </a:lnTo>
                  <a:lnTo>
                    <a:pt x="0" y="36"/>
                  </a:lnTo>
                  <a:lnTo>
                    <a:pt x="16" y="77"/>
                  </a:lnTo>
                  <a:lnTo>
                    <a:pt x="169" y="40"/>
                  </a:lnTo>
                  <a:close/>
                </a:path>
              </a:pathLst>
            </a:custGeom>
            <a:solidFill>
              <a:srgbClr val="EDB7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25">
              <a:extLst>
                <a:ext uri="{FF2B5EF4-FFF2-40B4-BE49-F238E27FC236}">
                  <a16:creationId xmlns:a16="http://schemas.microsoft.com/office/drawing/2014/main" id="{CE6993E8-DD07-48DF-8598-1671DE0C31F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72738" y="1511301"/>
              <a:ext cx="90488" cy="223838"/>
            </a:xfrm>
            <a:custGeom>
              <a:avLst/>
              <a:gdLst>
                <a:gd name="T0" fmla="*/ 57 w 57"/>
                <a:gd name="T1" fmla="*/ 33 h 141"/>
                <a:gd name="T2" fmla="*/ 0 w 57"/>
                <a:gd name="T3" fmla="*/ 141 h 141"/>
                <a:gd name="T4" fmla="*/ 0 w 57"/>
                <a:gd name="T5" fmla="*/ 33 h 141"/>
                <a:gd name="T6" fmla="*/ 4 w 57"/>
                <a:gd name="T7" fmla="*/ 0 h 141"/>
                <a:gd name="T8" fmla="*/ 41 w 57"/>
                <a:gd name="T9" fmla="*/ 0 h 141"/>
                <a:gd name="T10" fmla="*/ 57 w 57"/>
                <a:gd name="T11" fmla="*/ 33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7" h="141">
                  <a:moveTo>
                    <a:pt x="57" y="33"/>
                  </a:moveTo>
                  <a:lnTo>
                    <a:pt x="0" y="141"/>
                  </a:lnTo>
                  <a:lnTo>
                    <a:pt x="0" y="33"/>
                  </a:lnTo>
                  <a:lnTo>
                    <a:pt x="4" y="0"/>
                  </a:lnTo>
                  <a:lnTo>
                    <a:pt x="41" y="0"/>
                  </a:lnTo>
                  <a:lnTo>
                    <a:pt x="57" y="33"/>
                  </a:lnTo>
                  <a:close/>
                </a:path>
              </a:pathLst>
            </a:custGeom>
            <a:solidFill>
              <a:srgbClr val="F6BA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26">
              <a:extLst>
                <a:ext uri="{FF2B5EF4-FFF2-40B4-BE49-F238E27FC236}">
                  <a16:creationId xmlns:a16="http://schemas.microsoft.com/office/drawing/2014/main" id="{162AFDD8-D0B1-47C8-BB69-9CF96F1F59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72738" y="1511301"/>
              <a:ext cx="90488" cy="223838"/>
            </a:xfrm>
            <a:custGeom>
              <a:avLst/>
              <a:gdLst>
                <a:gd name="T0" fmla="*/ 57 w 57"/>
                <a:gd name="T1" fmla="*/ 33 h 141"/>
                <a:gd name="T2" fmla="*/ 0 w 57"/>
                <a:gd name="T3" fmla="*/ 141 h 141"/>
                <a:gd name="T4" fmla="*/ 0 w 57"/>
                <a:gd name="T5" fmla="*/ 33 h 141"/>
                <a:gd name="T6" fmla="*/ 4 w 57"/>
                <a:gd name="T7" fmla="*/ 0 h 141"/>
                <a:gd name="T8" fmla="*/ 41 w 57"/>
                <a:gd name="T9" fmla="*/ 0 h 141"/>
                <a:gd name="T10" fmla="*/ 57 w 57"/>
                <a:gd name="T11" fmla="*/ 33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7" h="141">
                  <a:moveTo>
                    <a:pt x="57" y="33"/>
                  </a:moveTo>
                  <a:lnTo>
                    <a:pt x="0" y="141"/>
                  </a:lnTo>
                  <a:lnTo>
                    <a:pt x="0" y="33"/>
                  </a:lnTo>
                  <a:lnTo>
                    <a:pt x="4" y="0"/>
                  </a:lnTo>
                  <a:lnTo>
                    <a:pt x="41" y="0"/>
                  </a:lnTo>
                  <a:lnTo>
                    <a:pt x="57" y="3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27">
              <a:extLst>
                <a:ext uri="{FF2B5EF4-FFF2-40B4-BE49-F238E27FC236}">
                  <a16:creationId xmlns:a16="http://schemas.microsoft.com/office/drawing/2014/main" id="{95068294-3B71-4D76-B45B-2AC865811F8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63200" y="1473201"/>
              <a:ext cx="122238" cy="90488"/>
            </a:xfrm>
            <a:custGeom>
              <a:avLst/>
              <a:gdLst>
                <a:gd name="T0" fmla="*/ 69 w 77"/>
                <a:gd name="T1" fmla="*/ 57 h 57"/>
                <a:gd name="T2" fmla="*/ 77 w 77"/>
                <a:gd name="T3" fmla="*/ 16 h 57"/>
                <a:gd name="T4" fmla="*/ 41 w 77"/>
                <a:gd name="T5" fmla="*/ 0 h 57"/>
                <a:gd name="T6" fmla="*/ 0 w 77"/>
                <a:gd name="T7" fmla="*/ 41 h 57"/>
                <a:gd name="T8" fmla="*/ 69 w 77"/>
                <a:gd name="T9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7" h="57">
                  <a:moveTo>
                    <a:pt x="69" y="57"/>
                  </a:moveTo>
                  <a:lnTo>
                    <a:pt x="77" y="16"/>
                  </a:lnTo>
                  <a:lnTo>
                    <a:pt x="41" y="0"/>
                  </a:lnTo>
                  <a:lnTo>
                    <a:pt x="0" y="41"/>
                  </a:lnTo>
                  <a:lnTo>
                    <a:pt x="69" y="57"/>
                  </a:lnTo>
                  <a:close/>
                </a:path>
              </a:pathLst>
            </a:custGeom>
            <a:solidFill>
              <a:srgbClr val="EDB7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28">
              <a:extLst>
                <a:ext uri="{FF2B5EF4-FFF2-40B4-BE49-F238E27FC236}">
                  <a16:creationId xmlns:a16="http://schemas.microsoft.com/office/drawing/2014/main" id="{A8EB044D-A157-4A25-B98D-3B4138A2180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42525" y="1838326"/>
              <a:ext cx="134938" cy="485775"/>
            </a:xfrm>
            <a:custGeom>
              <a:avLst/>
              <a:gdLst>
                <a:gd name="T0" fmla="*/ 14 w 21"/>
                <a:gd name="T1" fmla="*/ 76 h 76"/>
                <a:gd name="T2" fmla="*/ 14 w 21"/>
                <a:gd name="T3" fmla="*/ 73 h 76"/>
                <a:gd name="T4" fmla="*/ 10 w 21"/>
                <a:gd name="T5" fmla="*/ 64 h 76"/>
                <a:gd name="T6" fmla="*/ 3 w 21"/>
                <a:gd name="T7" fmla="*/ 53 h 76"/>
                <a:gd name="T8" fmla="*/ 3 w 21"/>
                <a:gd name="T9" fmla="*/ 45 h 76"/>
                <a:gd name="T10" fmla="*/ 8 w 21"/>
                <a:gd name="T11" fmla="*/ 39 h 76"/>
                <a:gd name="T12" fmla="*/ 15 w 21"/>
                <a:gd name="T13" fmla="*/ 36 h 76"/>
                <a:gd name="T14" fmla="*/ 16 w 21"/>
                <a:gd name="T15" fmla="*/ 36 h 76"/>
                <a:gd name="T16" fmla="*/ 16 w 21"/>
                <a:gd name="T17" fmla="*/ 35 h 76"/>
                <a:gd name="T18" fmla="*/ 20 w 21"/>
                <a:gd name="T19" fmla="*/ 10 h 76"/>
                <a:gd name="T20" fmla="*/ 20 w 21"/>
                <a:gd name="T21" fmla="*/ 0 h 76"/>
                <a:gd name="T22" fmla="*/ 19 w 21"/>
                <a:gd name="T23" fmla="*/ 10 h 76"/>
                <a:gd name="T24" fmla="*/ 14 w 21"/>
                <a:gd name="T25" fmla="*/ 35 h 76"/>
                <a:gd name="T26" fmla="*/ 15 w 21"/>
                <a:gd name="T27" fmla="*/ 34 h 76"/>
                <a:gd name="T28" fmla="*/ 7 w 21"/>
                <a:gd name="T29" fmla="*/ 37 h 76"/>
                <a:gd name="T30" fmla="*/ 1 w 21"/>
                <a:gd name="T31" fmla="*/ 44 h 76"/>
                <a:gd name="T32" fmla="*/ 1 w 21"/>
                <a:gd name="T33" fmla="*/ 53 h 76"/>
                <a:gd name="T34" fmla="*/ 4 w 21"/>
                <a:gd name="T35" fmla="*/ 60 h 76"/>
                <a:gd name="T36" fmla="*/ 9 w 21"/>
                <a:gd name="T37" fmla="*/ 65 h 76"/>
                <a:gd name="T38" fmla="*/ 13 w 21"/>
                <a:gd name="T39" fmla="*/ 73 h 76"/>
                <a:gd name="T40" fmla="*/ 14 w 21"/>
                <a:gd name="T41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" h="76">
                  <a:moveTo>
                    <a:pt x="14" y="76"/>
                  </a:moveTo>
                  <a:cubicBezTo>
                    <a:pt x="14" y="76"/>
                    <a:pt x="14" y="75"/>
                    <a:pt x="14" y="73"/>
                  </a:cubicBezTo>
                  <a:cubicBezTo>
                    <a:pt x="14" y="70"/>
                    <a:pt x="13" y="67"/>
                    <a:pt x="10" y="64"/>
                  </a:cubicBezTo>
                  <a:cubicBezTo>
                    <a:pt x="7" y="61"/>
                    <a:pt x="4" y="58"/>
                    <a:pt x="3" y="53"/>
                  </a:cubicBezTo>
                  <a:cubicBezTo>
                    <a:pt x="2" y="50"/>
                    <a:pt x="2" y="48"/>
                    <a:pt x="3" y="45"/>
                  </a:cubicBezTo>
                  <a:cubicBezTo>
                    <a:pt x="4" y="43"/>
                    <a:pt x="6" y="40"/>
                    <a:pt x="8" y="39"/>
                  </a:cubicBezTo>
                  <a:cubicBezTo>
                    <a:pt x="10" y="37"/>
                    <a:pt x="13" y="36"/>
                    <a:pt x="15" y="36"/>
                  </a:cubicBezTo>
                  <a:cubicBezTo>
                    <a:pt x="16" y="36"/>
                    <a:pt x="16" y="36"/>
                    <a:pt x="16" y="36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8" y="25"/>
                    <a:pt x="20" y="16"/>
                    <a:pt x="20" y="10"/>
                  </a:cubicBezTo>
                  <a:cubicBezTo>
                    <a:pt x="21" y="3"/>
                    <a:pt x="20" y="0"/>
                    <a:pt x="20" y="0"/>
                  </a:cubicBezTo>
                  <a:cubicBezTo>
                    <a:pt x="20" y="0"/>
                    <a:pt x="20" y="3"/>
                    <a:pt x="19" y="10"/>
                  </a:cubicBezTo>
                  <a:cubicBezTo>
                    <a:pt x="18" y="16"/>
                    <a:pt x="16" y="25"/>
                    <a:pt x="14" y="35"/>
                  </a:cubicBezTo>
                  <a:cubicBezTo>
                    <a:pt x="15" y="34"/>
                    <a:pt x="15" y="34"/>
                    <a:pt x="15" y="34"/>
                  </a:cubicBezTo>
                  <a:cubicBezTo>
                    <a:pt x="12" y="34"/>
                    <a:pt x="9" y="35"/>
                    <a:pt x="7" y="37"/>
                  </a:cubicBezTo>
                  <a:cubicBezTo>
                    <a:pt x="4" y="39"/>
                    <a:pt x="2" y="42"/>
                    <a:pt x="1" y="44"/>
                  </a:cubicBezTo>
                  <a:cubicBezTo>
                    <a:pt x="0" y="47"/>
                    <a:pt x="0" y="50"/>
                    <a:pt x="1" y="53"/>
                  </a:cubicBezTo>
                  <a:cubicBezTo>
                    <a:pt x="1" y="56"/>
                    <a:pt x="3" y="58"/>
                    <a:pt x="4" y="60"/>
                  </a:cubicBezTo>
                  <a:cubicBezTo>
                    <a:pt x="6" y="62"/>
                    <a:pt x="8" y="64"/>
                    <a:pt x="9" y="65"/>
                  </a:cubicBezTo>
                  <a:cubicBezTo>
                    <a:pt x="12" y="68"/>
                    <a:pt x="13" y="71"/>
                    <a:pt x="13" y="73"/>
                  </a:cubicBezTo>
                  <a:cubicBezTo>
                    <a:pt x="14" y="75"/>
                    <a:pt x="13" y="76"/>
                    <a:pt x="14" y="76"/>
                  </a:cubicBezTo>
                  <a:close/>
                </a:path>
              </a:pathLst>
            </a:custGeom>
            <a:solidFill>
              <a:srgbClr val="EDB7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29">
              <a:extLst>
                <a:ext uri="{FF2B5EF4-FFF2-40B4-BE49-F238E27FC236}">
                  <a16:creationId xmlns:a16="http://schemas.microsoft.com/office/drawing/2014/main" id="{E29844B1-3701-4CC2-9DAC-DB41191AF0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6663" y="1882776"/>
              <a:ext cx="38100" cy="76200"/>
            </a:xfrm>
            <a:custGeom>
              <a:avLst/>
              <a:gdLst>
                <a:gd name="T0" fmla="*/ 1 w 6"/>
                <a:gd name="T1" fmla="*/ 0 h 12"/>
                <a:gd name="T2" fmla="*/ 3 w 6"/>
                <a:gd name="T3" fmla="*/ 6 h 12"/>
                <a:gd name="T4" fmla="*/ 5 w 6"/>
                <a:gd name="T5" fmla="*/ 12 h 12"/>
                <a:gd name="T6" fmla="*/ 5 w 6"/>
                <a:gd name="T7" fmla="*/ 5 h 12"/>
                <a:gd name="T8" fmla="*/ 1 w 6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2">
                  <a:moveTo>
                    <a:pt x="1" y="0"/>
                  </a:moveTo>
                  <a:cubicBezTo>
                    <a:pt x="0" y="1"/>
                    <a:pt x="1" y="3"/>
                    <a:pt x="3" y="6"/>
                  </a:cubicBezTo>
                  <a:cubicBezTo>
                    <a:pt x="4" y="9"/>
                    <a:pt x="5" y="12"/>
                    <a:pt x="5" y="12"/>
                  </a:cubicBezTo>
                  <a:cubicBezTo>
                    <a:pt x="6" y="12"/>
                    <a:pt x="6" y="9"/>
                    <a:pt x="5" y="5"/>
                  </a:cubicBezTo>
                  <a:cubicBezTo>
                    <a:pt x="3" y="2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EDB7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30">
              <a:extLst>
                <a:ext uri="{FF2B5EF4-FFF2-40B4-BE49-F238E27FC236}">
                  <a16:creationId xmlns:a16="http://schemas.microsoft.com/office/drawing/2014/main" id="{50386328-8EEE-4612-B68C-E1E108645E2D}"/>
                </a:ext>
              </a:extLst>
            </p:cNvPr>
            <p:cNvSpPr>
              <a:spLocks/>
            </p:cNvSpPr>
            <p:nvPr/>
          </p:nvSpPr>
          <p:spPr bwMode="auto">
            <a:xfrm>
              <a:off x="9812338" y="2163763"/>
              <a:ext cx="327025" cy="153988"/>
            </a:xfrm>
            <a:custGeom>
              <a:avLst/>
              <a:gdLst>
                <a:gd name="T0" fmla="*/ 0 w 51"/>
                <a:gd name="T1" fmla="*/ 1 h 24"/>
                <a:gd name="T2" fmla="*/ 25 w 51"/>
                <a:gd name="T3" fmla="*/ 14 h 24"/>
                <a:gd name="T4" fmla="*/ 51 w 51"/>
                <a:gd name="T5" fmla="*/ 24 h 24"/>
                <a:gd name="T6" fmla="*/ 26 w 51"/>
                <a:gd name="T7" fmla="*/ 12 h 24"/>
                <a:gd name="T8" fmla="*/ 0 w 51"/>
                <a:gd name="T9" fmla="*/ 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" h="24">
                  <a:moveTo>
                    <a:pt x="0" y="1"/>
                  </a:moveTo>
                  <a:cubicBezTo>
                    <a:pt x="0" y="1"/>
                    <a:pt x="11" y="7"/>
                    <a:pt x="25" y="14"/>
                  </a:cubicBezTo>
                  <a:cubicBezTo>
                    <a:pt x="39" y="20"/>
                    <a:pt x="50" y="24"/>
                    <a:pt x="51" y="24"/>
                  </a:cubicBezTo>
                  <a:cubicBezTo>
                    <a:pt x="51" y="23"/>
                    <a:pt x="40" y="18"/>
                    <a:pt x="26" y="12"/>
                  </a:cubicBezTo>
                  <a:cubicBezTo>
                    <a:pt x="12" y="5"/>
                    <a:pt x="1" y="0"/>
                    <a:pt x="0" y="1"/>
                  </a:cubicBezTo>
                  <a:close/>
                </a:path>
              </a:pathLst>
            </a:custGeom>
            <a:solidFill>
              <a:srgbClr val="EDB7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31">
              <a:extLst>
                <a:ext uri="{FF2B5EF4-FFF2-40B4-BE49-F238E27FC236}">
                  <a16:creationId xmlns:a16="http://schemas.microsoft.com/office/drawing/2014/main" id="{989913C6-4643-4DE6-A2D8-158096CAFD82}"/>
                </a:ext>
              </a:extLst>
            </p:cNvPr>
            <p:cNvSpPr>
              <a:spLocks/>
            </p:cNvSpPr>
            <p:nvPr/>
          </p:nvSpPr>
          <p:spPr bwMode="auto">
            <a:xfrm>
              <a:off x="9831388" y="2119313"/>
              <a:ext cx="288925" cy="152400"/>
            </a:xfrm>
            <a:custGeom>
              <a:avLst/>
              <a:gdLst>
                <a:gd name="T0" fmla="*/ 0 w 45"/>
                <a:gd name="T1" fmla="*/ 0 h 24"/>
                <a:gd name="T2" fmla="*/ 22 w 45"/>
                <a:gd name="T3" fmla="*/ 13 h 24"/>
                <a:gd name="T4" fmla="*/ 45 w 45"/>
                <a:gd name="T5" fmla="*/ 24 h 24"/>
                <a:gd name="T6" fmla="*/ 23 w 45"/>
                <a:gd name="T7" fmla="*/ 11 h 24"/>
                <a:gd name="T8" fmla="*/ 0 w 45"/>
                <a:gd name="T9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24">
                  <a:moveTo>
                    <a:pt x="0" y="0"/>
                  </a:moveTo>
                  <a:cubicBezTo>
                    <a:pt x="0" y="1"/>
                    <a:pt x="10" y="6"/>
                    <a:pt x="22" y="13"/>
                  </a:cubicBezTo>
                  <a:cubicBezTo>
                    <a:pt x="34" y="19"/>
                    <a:pt x="45" y="24"/>
                    <a:pt x="45" y="24"/>
                  </a:cubicBezTo>
                  <a:cubicBezTo>
                    <a:pt x="45" y="23"/>
                    <a:pt x="35" y="18"/>
                    <a:pt x="23" y="11"/>
                  </a:cubicBezTo>
                  <a:cubicBezTo>
                    <a:pt x="11" y="5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EDB7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32">
              <a:extLst>
                <a:ext uri="{FF2B5EF4-FFF2-40B4-BE49-F238E27FC236}">
                  <a16:creationId xmlns:a16="http://schemas.microsoft.com/office/drawing/2014/main" id="{F91042C1-CD6F-4766-BE54-2193AEF38B5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42550" y="1889126"/>
              <a:ext cx="88900" cy="19050"/>
            </a:xfrm>
            <a:custGeom>
              <a:avLst/>
              <a:gdLst>
                <a:gd name="T0" fmla="*/ 0 w 14"/>
                <a:gd name="T1" fmla="*/ 1 h 3"/>
                <a:gd name="T2" fmla="*/ 7 w 14"/>
                <a:gd name="T3" fmla="*/ 2 h 3"/>
                <a:gd name="T4" fmla="*/ 14 w 14"/>
                <a:gd name="T5" fmla="*/ 2 h 3"/>
                <a:gd name="T6" fmla="*/ 7 w 14"/>
                <a:gd name="T7" fmla="*/ 0 h 3"/>
                <a:gd name="T8" fmla="*/ 0 w 14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3">
                  <a:moveTo>
                    <a:pt x="0" y="1"/>
                  </a:moveTo>
                  <a:cubicBezTo>
                    <a:pt x="0" y="2"/>
                    <a:pt x="3" y="2"/>
                    <a:pt x="7" y="2"/>
                  </a:cubicBezTo>
                  <a:cubicBezTo>
                    <a:pt x="11" y="3"/>
                    <a:pt x="14" y="2"/>
                    <a:pt x="14" y="2"/>
                  </a:cubicBezTo>
                  <a:cubicBezTo>
                    <a:pt x="14" y="1"/>
                    <a:pt x="11" y="1"/>
                    <a:pt x="7" y="0"/>
                  </a:cubicBezTo>
                  <a:cubicBezTo>
                    <a:pt x="3" y="0"/>
                    <a:pt x="0" y="0"/>
                    <a:pt x="0" y="1"/>
                  </a:cubicBezTo>
                  <a:close/>
                </a:path>
              </a:pathLst>
            </a:custGeom>
            <a:solidFill>
              <a:srgbClr val="EDB7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33">
              <a:extLst>
                <a:ext uri="{FF2B5EF4-FFF2-40B4-BE49-F238E27FC236}">
                  <a16:creationId xmlns:a16="http://schemas.microsoft.com/office/drawing/2014/main" id="{6B8F5A1E-6402-4D38-85BE-99C7CF4D2FB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200" y="1908176"/>
              <a:ext cx="101600" cy="31750"/>
            </a:xfrm>
            <a:custGeom>
              <a:avLst/>
              <a:gdLst>
                <a:gd name="T0" fmla="*/ 0 w 16"/>
                <a:gd name="T1" fmla="*/ 0 h 5"/>
                <a:gd name="T2" fmla="*/ 8 w 16"/>
                <a:gd name="T3" fmla="*/ 3 h 5"/>
                <a:gd name="T4" fmla="*/ 15 w 16"/>
                <a:gd name="T5" fmla="*/ 4 h 5"/>
                <a:gd name="T6" fmla="*/ 8 w 16"/>
                <a:gd name="T7" fmla="*/ 1 h 5"/>
                <a:gd name="T8" fmla="*/ 0 w 16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5">
                  <a:moveTo>
                    <a:pt x="0" y="0"/>
                  </a:moveTo>
                  <a:cubicBezTo>
                    <a:pt x="0" y="1"/>
                    <a:pt x="3" y="2"/>
                    <a:pt x="8" y="3"/>
                  </a:cubicBezTo>
                  <a:cubicBezTo>
                    <a:pt x="12" y="4"/>
                    <a:pt x="15" y="5"/>
                    <a:pt x="15" y="4"/>
                  </a:cubicBezTo>
                  <a:cubicBezTo>
                    <a:pt x="16" y="4"/>
                    <a:pt x="12" y="2"/>
                    <a:pt x="8" y="1"/>
                  </a:cubicBezTo>
                  <a:cubicBezTo>
                    <a:pt x="4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EDB7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34">
              <a:extLst>
                <a:ext uri="{FF2B5EF4-FFF2-40B4-BE49-F238E27FC236}">
                  <a16:creationId xmlns:a16="http://schemas.microsoft.com/office/drawing/2014/main" id="{A1163717-9016-4369-A5ED-A43102C6E5FC}"/>
                </a:ext>
              </a:extLst>
            </p:cNvPr>
            <p:cNvSpPr>
              <a:spLocks/>
            </p:cNvSpPr>
            <p:nvPr/>
          </p:nvSpPr>
          <p:spPr bwMode="auto">
            <a:xfrm>
              <a:off x="9274175" y="6138863"/>
              <a:ext cx="576263" cy="101600"/>
            </a:xfrm>
            <a:custGeom>
              <a:avLst/>
              <a:gdLst>
                <a:gd name="T0" fmla="*/ 39 w 90"/>
                <a:gd name="T1" fmla="*/ 0 h 16"/>
                <a:gd name="T2" fmla="*/ 10 w 90"/>
                <a:gd name="T3" fmla="*/ 13 h 16"/>
                <a:gd name="T4" fmla="*/ 88 w 90"/>
                <a:gd name="T5" fmla="*/ 9 h 16"/>
                <a:gd name="T6" fmla="*/ 90 w 90"/>
                <a:gd name="T7" fmla="*/ 1 h 16"/>
                <a:gd name="T8" fmla="*/ 39 w 90"/>
                <a:gd name="T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16">
                  <a:moveTo>
                    <a:pt x="39" y="0"/>
                  </a:moveTo>
                  <a:cubicBezTo>
                    <a:pt x="39" y="0"/>
                    <a:pt x="0" y="10"/>
                    <a:pt x="10" y="13"/>
                  </a:cubicBezTo>
                  <a:cubicBezTo>
                    <a:pt x="19" y="16"/>
                    <a:pt x="88" y="9"/>
                    <a:pt x="88" y="9"/>
                  </a:cubicBezTo>
                  <a:cubicBezTo>
                    <a:pt x="90" y="1"/>
                    <a:pt x="90" y="1"/>
                    <a:pt x="90" y="1"/>
                  </a:cubicBezTo>
                  <a:lnTo>
                    <a:pt x="39" y="0"/>
                  </a:lnTo>
                  <a:close/>
                </a:path>
              </a:pathLst>
            </a:custGeom>
            <a:solidFill>
              <a:srgbClr val="6354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35">
              <a:extLst>
                <a:ext uri="{FF2B5EF4-FFF2-40B4-BE49-F238E27FC236}">
                  <a16:creationId xmlns:a16="http://schemas.microsoft.com/office/drawing/2014/main" id="{525649FE-91AC-4773-8027-5EF4B8FBD68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3413" y="5953126"/>
              <a:ext cx="404813" cy="242888"/>
            </a:xfrm>
            <a:custGeom>
              <a:avLst/>
              <a:gdLst>
                <a:gd name="T0" fmla="*/ 198 w 255"/>
                <a:gd name="T1" fmla="*/ 153 h 153"/>
                <a:gd name="T2" fmla="*/ 255 w 255"/>
                <a:gd name="T3" fmla="*/ 0 h 153"/>
                <a:gd name="T4" fmla="*/ 8 w 255"/>
                <a:gd name="T5" fmla="*/ 0 h 153"/>
                <a:gd name="T6" fmla="*/ 0 w 255"/>
                <a:gd name="T7" fmla="*/ 117 h 153"/>
                <a:gd name="T8" fmla="*/ 198 w 255"/>
                <a:gd name="T9" fmla="*/ 153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5" h="153">
                  <a:moveTo>
                    <a:pt x="198" y="153"/>
                  </a:moveTo>
                  <a:lnTo>
                    <a:pt x="255" y="0"/>
                  </a:lnTo>
                  <a:lnTo>
                    <a:pt x="8" y="0"/>
                  </a:lnTo>
                  <a:lnTo>
                    <a:pt x="0" y="117"/>
                  </a:lnTo>
                  <a:lnTo>
                    <a:pt x="198" y="153"/>
                  </a:lnTo>
                  <a:close/>
                </a:path>
              </a:pathLst>
            </a:custGeom>
            <a:solidFill>
              <a:srgbClr val="6354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36">
              <a:extLst>
                <a:ext uri="{FF2B5EF4-FFF2-40B4-BE49-F238E27FC236}">
                  <a16:creationId xmlns:a16="http://schemas.microsoft.com/office/drawing/2014/main" id="{B62A8E93-E7D6-4BEB-A0AE-1C14BC7156F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87125" y="5621338"/>
              <a:ext cx="263525" cy="530225"/>
            </a:xfrm>
            <a:custGeom>
              <a:avLst/>
              <a:gdLst>
                <a:gd name="T0" fmla="*/ 10 w 41"/>
                <a:gd name="T1" fmla="*/ 44 h 83"/>
                <a:gd name="T2" fmla="*/ 7 w 41"/>
                <a:gd name="T3" fmla="*/ 76 h 83"/>
                <a:gd name="T4" fmla="*/ 41 w 41"/>
                <a:gd name="T5" fmla="*/ 5 h 83"/>
                <a:gd name="T6" fmla="*/ 36 w 41"/>
                <a:gd name="T7" fmla="*/ 0 h 83"/>
                <a:gd name="T8" fmla="*/ 10 w 41"/>
                <a:gd name="T9" fmla="*/ 44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83">
                  <a:moveTo>
                    <a:pt x="10" y="44"/>
                  </a:moveTo>
                  <a:cubicBezTo>
                    <a:pt x="10" y="44"/>
                    <a:pt x="0" y="83"/>
                    <a:pt x="7" y="76"/>
                  </a:cubicBezTo>
                  <a:cubicBezTo>
                    <a:pt x="15" y="69"/>
                    <a:pt x="41" y="5"/>
                    <a:pt x="41" y="5"/>
                  </a:cubicBezTo>
                  <a:cubicBezTo>
                    <a:pt x="36" y="0"/>
                    <a:pt x="36" y="0"/>
                    <a:pt x="36" y="0"/>
                  </a:cubicBezTo>
                  <a:lnTo>
                    <a:pt x="10" y="44"/>
                  </a:lnTo>
                  <a:close/>
                </a:path>
              </a:pathLst>
            </a:custGeom>
            <a:solidFill>
              <a:srgbClr val="6354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37">
              <a:extLst>
                <a:ext uri="{FF2B5EF4-FFF2-40B4-BE49-F238E27FC236}">
                  <a16:creationId xmlns:a16="http://schemas.microsoft.com/office/drawing/2014/main" id="{0F3DCE05-0CE3-42E3-8972-6367739745F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98225" y="5461001"/>
              <a:ext cx="352425" cy="441325"/>
            </a:xfrm>
            <a:custGeom>
              <a:avLst/>
              <a:gdLst>
                <a:gd name="T0" fmla="*/ 222 w 222"/>
                <a:gd name="T1" fmla="*/ 121 h 278"/>
                <a:gd name="T2" fmla="*/ 117 w 222"/>
                <a:gd name="T3" fmla="*/ 0 h 278"/>
                <a:gd name="T4" fmla="*/ 0 w 222"/>
                <a:gd name="T5" fmla="*/ 213 h 278"/>
                <a:gd name="T6" fmla="*/ 97 w 222"/>
                <a:gd name="T7" fmla="*/ 278 h 278"/>
                <a:gd name="T8" fmla="*/ 222 w 222"/>
                <a:gd name="T9" fmla="*/ 121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2" h="278">
                  <a:moveTo>
                    <a:pt x="222" y="121"/>
                  </a:moveTo>
                  <a:lnTo>
                    <a:pt x="117" y="0"/>
                  </a:lnTo>
                  <a:lnTo>
                    <a:pt x="0" y="213"/>
                  </a:lnTo>
                  <a:lnTo>
                    <a:pt x="97" y="278"/>
                  </a:lnTo>
                  <a:lnTo>
                    <a:pt x="222" y="121"/>
                  </a:lnTo>
                  <a:close/>
                </a:path>
              </a:pathLst>
            </a:custGeom>
            <a:solidFill>
              <a:srgbClr val="6354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38">
              <a:extLst>
                <a:ext uri="{FF2B5EF4-FFF2-40B4-BE49-F238E27FC236}">
                  <a16:creationId xmlns:a16="http://schemas.microsoft.com/office/drawing/2014/main" id="{2E11F748-6613-44AA-A01B-43C478EA0C0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42550" y="700088"/>
              <a:ext cx="261938" cy="280988"/>
            </a:xfrm>
            <a:custGeom>
              <a:avLst/>
              <a:gdLst>
                <a:gd name="T0" fmla="*/ 40 w 41"/>
                <a:gd name="T1" fmla="*/ 1 h 44"/>
                <a:gd name="T2" fmla="*/ 31 w 41"/>
                <a:gd name="T3" fmla="*/ 2 h 44"/>
                <a:gd name="T4" fmla="*/ 12 w 41"/>
                <a:gd name="T5" fmla="*/ 14 h 44"/>
                <a:gd name="T6" fmla="*/ 1 w 41"/>
                <a:gd name="T7" fmla="*/ 34 h 44"/>
                <a:gd name="T8" fmla="*/ 1 w 41"/>
                <a:gd name="T9" fmla="*/ 44 h 44"/>
                <a:gd name="T10" fmla="*/ 3 w 41"/>
                <a:gd name="T11" fmla="*/ 35 h 44"/>
                <a:gd name="T12" fmla="*/ 13 w 41"/>
                <a:gd name="T13" fmla="*/ 15 h 44"/>
                <a:gd name="T14" fmla="*/ 32 w 41"/>
                <a:gd name="T15" fmla="*/ 3 h 44"/>
                <a:gd name="T16" fmla="*/ 40 w 41"/>
                <a:gd name="T17" fmla="*/ 1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1" h="44">
                  <a:moveTo>
                    <a:pt x="40" y="1"/>
                  </a:moveTo>
                  <a:cubicBezTo>
                    <a:pt x="40" y="1"/>
                    <a:pt x="37" y="0"/>
                    <a:pt x="31" y="2"/>
                  </a:cubicBezTo>
                  <a:cubicBezTo>
                    <a:pt x="25" y="4"/>
                    <a:pt x="18" y="7"/>
                    <a:pt x="12" y="14"/>
                  </a:cubicBezTo>
                  <a:cubicBezTo>
                    <a:pt x="5" y="21"/>
                    <a:pt x="2" y="29"/>
                    <a:pt x="1" y="34"/>
                  </a:cubicBezTo>
                  <a:cubicBezTo>
                    <a:pt x="0" y="40"/>
                    <a:pt x="0" y="44"/>
                    <a:pt x="1" y="44"/>
                  </a:cubicBezTo>
                  <a:cubicBezTo>
                    <a:pt x="1" y="44"/>
                    <a:pt x="1" y="40"/>
                    <a:pt x="3" y="35"/>
                  </a:cubicBezTo>
                  <a:cubicBezTo>
                    <a:pt x="4" y="29"/>
                    <a:pt x="7" y="22"/>
                    <a:pt x="13" y="15"/>
                  </a:cubicBezTo>
                  <a:cubicBezTo>
                    <a:pt x="19" y="9"/>
                    <a:pt x="26" y="5"/>
                    <a:pt x="32" y="3"/>
                  </a:cubicBezTo>
                  <a:cubicBezTo>
                    <a:pt x="37" y="2"/>
                    <a:pt x="41" y="1"/>
                    <a:pt x="40" y="1"/>
                  </a:cubicBezTo>
                  <a:close/>
                </a:path>
              </a:pathLst>
            </a:custGeom>
            <a:solidFill>
              <a:srgbClr val="F17F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39">
              <a:extLst>
                <a:ext uri="{FF2B5EF4-FFF2-40B4-BE49-F238E27FC236}">
                  <a16:creationId xmlns:a16="http://schemas.microsoft.com/office/drawing/2014/main" id="{D2D19466-3DAB-4FAC-A3D4-3D472D7ABA9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0713" y="1052513"/>
              <a:ext cx="103188" cy="114300"/>
            </a:xfrm>
            <a:custGeom>
              <a:avLst/>
              <a:gdLst>
                <a:gd name="T0" fmla="*/ 0 w 16"/>
                <a:gd name="T1" fmla="*/ 16 h 18"/>
                <a:gd name="T2" fmla="*/ 1 w 16"/>
                <a:gd name="T3" fmla="*/ 7 h 18"/>
                <a:gd name="T4" fmla="*/ 8 w 16"/>
                <a:gd name="T5" fmla="*/ 1 h 18"/>
                <a:gd name="T6" fmla="*/ 16 w 16"/>
                <a:gd name="T7" fmla="*/ 7 h 18"/>
                <a:gd name="T8" fmla="*/ 11 w 16"/>
                <a:gd name="T9" fmla="*/ 16 h 18"/>
                <a:gd name="T10" fmla="*/ 1 w 16"/>
                <a:gd name="T11" fmla="*/ 17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18">
                  <a:moveTo>
                    <a:pt x="0" y="16"/>
                  </a:moveTo>
                  <a:cubicBezTo>
                    <a:pt x="0" y="13"/>
                    <a:pt x="0" y="10"/>
                    <a:pt x="1" y="7"/>
                  </a:cubicBezTo>
                  <a:cubicBezTo>
                    <a:pt x="2" y="4"/>
                    <a:pt x="5" y="1"/>
                    <a:pt x="8" y="1"/>
                  </a:cubicBezTo>
                  <a:cubicBezTo>
                    <a:pt x="12" y="0"/>
                    <a:pt x="15" y="4"/>
                    <a:pt x="16" y="7"/>
                  </a:cubicBezTo>
                  <a:cubicBezTo>
                    <a:pt x="16" y="11"/>
                    <a:pt x="14" y="15"/>
                    <a:pt x="11" y="16"/>
                  </a:cubicBezTo>
                  <a:cubicBezTo>
                    <a:pt x="8" y="18"/>
                    <a:pt x="4" y="18"/>
                    <a:pt x="1" y="17"/>
                  </a:cubicBezTo>
                </a:path>
              </a:pathLst>
            </a:custGeom>
            <a:solidFill>
              <a:srgbClr val="F6BA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40">
              <a:extLst>
                <a:ext uri="{FF2B5EF4-FFF2-40B4-BE49-F238E27FC236}">
                  <a16:creationId xmlns:a16="http://schemas.microsoft.com/office/drawing/2014/main" id="{56F72516-5FF2-4B56-A44B-CDBF9F7836D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40988" y="930276"/>
              <a:ext cx="198438" cy="198438"/>
            </a:xfrm>
            <a:custGeom>
              <a:avLst/>
              <a:gdLst>
                <a:gd name="T0" fmla="*/ 0 w 31"/>
                <a:gd name="T1" fmla="*/ 15 h 31"/>
                <a:gd name="T2" fmla="*/ 1 w 31"/>
                <a:gd name="T3" fmla="*/ 12 h 31"/>
                <a:gd name="T4" fmla="*/ 7 w 31"/>
                <a:gd name="T5" fmla="*/ 4 h 31"/>
                <a:gd name="T6" fmla="*/ 13 w 31"/>
                <a:gd name="T7" fmla="*/ 1 h 31"/>
                <a:gd name="T8" fmla="*/ 20 w 31"/>
                <a:gd name="T9" fmla="*/ 2 h 31"/>
                <a:gd name="T10" fmla="*/ 27 w 31"/>
                <a:gd name="T11" fmla="*/ 7 h 31"/>
                <a:gd name="T12" fmla="*/ 30 w 31"/>
                <a:gd name="T13" fmla="*/ 15 h 31"/>
                <a:gd name="T14" fmla="*/ 27 w 31"/>
                <a:gd name="T15" fmla="*/ 24 h 31"/>
                <a:gd name="T16" fmla="*/ 20 w 31"/>
                <a:gd name="T17" fmla="*/ 29 h 31"/>
                <a:gd name="T18" fmla="*/ 13 w 31"/>
                <a:gd name="T19" fmla="*/ 30 h 31"/>
                <a:gd name="T20" fmla="*/ 7 w 31"/>
                <a:gd name="T21" fmla="*/ 27 h 31"/>
                <a:gd name="T22" fmla="*/ 1 w 31"/>
                <a:gd name="T23" fmla="*/ 19 h 31"/>
                <a:gd name="T24" fmla="*/ 0 w 31"/>
                <a:gd name="T25" fmla="*/ 15 h 31"/>
                <a:gd name="T26" fmla="*/ 0 w 31"/>
                <a:gd name="T27" fmla="*/ 16 h 31"/>
                <a:gd name="T28" fmla="*/ 1 w 31"/>
                <a:gd name="T29" fmla="*/ 19 h 31"/>
                <a:gd name="T30" fmla="*/ 6 w 31"/>
                <a:gd name="T31" fmla="*/ 27 h 31"/>
                <a:gd name="T32" fmla="*/ 12 w 31"/>
                <a:gd name="T33" fmla="*/ 30 h 31"/>
                <a:gd name="T34" fmla="*/ 21 w 31"/>
                <a:gd name="T35" fmla="*/ 30 h 31"/>
                <a:gd name="T36" fmla="*/ 28 w 31"/>
                <a:gd name="T37" fmla="*/ 24 h 31"/>
                <a:gd name="T38" fmla="*/ 31 w 31"/>
                <a:gd name="T39" fmla="*/ 15 h 31"/>
                <a:gd name="T40" fmla="*/ 28 w 31"/>
                <a:gd name="T41" fmla="*/ 6 h 31"/>
                <a:gd name="T42" fmla="*/ 21 w 31"/>
                <a:gd name="T43" fmla="*/ 1 h 31"/>
                <a:gd name="T44" fmla="*/ 12 w 31"/>
                <a:gd name="T45" fmla="*/ 0 h 31"/>
                <a:gd name="T46" fmla="*/ 6 w 31"/>
                <a:gd name="T47" fmla="*/ 3 h 31"/>
                <a:gd name="T48" fmla="*/ 1 w 31"/>
                <a:gd name="T49" fmla="*/ 12 h 31"/>
                <a:gd name="T50" fmla="*/ 0 w 31"/>
                <a:gd name="T51" fmla="*/ 14 h 31"/>
                <a:gd name="T52" fmla="*/ 0 w 31"/>
                <a:gd name="T53" fmla="*/ 1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1" h="31">
                  <a:moveTo>
                    <a:pt x="0" y="15"/>
                  </a:moveTo>
                  <a:cubicBezTo>
                    <a:pt x="1" y="15"/>
                    <a:pt x="0" y="14"/>
                    <a:pt x="1" y="12"/>
                  </a:cubicBezTo>
                  <a:cubicBezTo>
                    <a:pt x="2" y="9"/>
                    <a:pt x="3" y="6"/>
                    <a:pt x="7" y="4"/>
                  </a:cubicBezTo>
                  <a:cubicBezTo>
                    <a:pt x="8" y="2"/>
                    <a:pt x="10" y="1"/>
                    <a:pt x="13" y="1"/>
                  </a:cubicBezTo>
                  <a:cubicBezTo>
                    <a:pt x="15" y="1"/>
                    <a:pt x="18" y="1"/>
                    <a:pt x="20" y="2"/>
                  </a:cubicBezTo>
                  <a:cubicBezTo>
                    <a:pt x="23" y="3"/>
                    <a:pt x="25" y="4"/>
                    <a:pt x="27" y="7"/>
                  </a:cubicBezTo>
                  <a:cubicBezTo>
                    <a:pt x="29" y="9"/>
                    <a:pt x="30" y="12"/>
                    <a:pt x="30" y="15"/>
                  </a:cubicBezTo>
                  <a:cubicBezTo>
                    <a:pt x="30" y="18"/>
                    <a:pt x="29" y="21"/>
                    <a:pt x="27" y="24"/>
                  </a:cubicBezTo>
                  <a:cubicBezTo>
                    <a:pt x="25" y="26"/>
                    <a:pt x="23" y="28"/>
                    <a:pt x="20" y="29"/>
                  </a:cubicBezTo>
                  <a:cubicBezTo>
                    <a:pt x="18" y="30"/>
                    <a:pt x="15" y="30"/>
                    <a:pt x="13" y="30"/>
                  </a:cubicBezTo>
                  <a:cubicBezTo>
                    <a:pt x="10" y="29"/>
                    <a:pt x="8" y="28"/>
                    <a:pt x="7" y="27"/>
                  </a:cubicBezTo>
                  <a:cubicBezTo>
                    <a:pt x="3" y="24"/>
                    <a:pt x="2" y="21"/>
                    <a:pt x="1" y="19"/>
                  </a:cubicBezTo>
                  <a:cubicBezTo>
                    <a:pt x="0" y="17"/>
                    <a:pt x="1" y="15"/>
                    <a:pt x="0" y="15"/>
                  </a:cubicBezTo>
                  <a:cubicBezTo>
                    <a:pt x="0" y="15"/>
                    <a:pt x="0" y="16"/>
                    <a:pt x="0" y="16"/>
                  </a:cubicBezTo>
                  <a:cubicBezTo>
                    <a:pt x="0" y="17"/>
                    <a:pt x="0" y="18"/>
                    <a:pt x="1" y="19"/>
                  </a:cubicBezTo>
                  <a:cubicBezTo>
                    <a:pt x="1" y="21"/>
                    <a:pt x="3" y="25"/>
                    <a:pt x="6" y="27"/>
                  </a:cubicBezTo>
                  <a:cubicBezTo>
                    <a:pt x="8" y="29"/>
                    <a:pt x="10" y="30"/>
                    <a:pt x="12" y="30"/>
                  </a:cubicBezTo>
                  <a:cubicBezTo>
                    <a:pt x="15" y="31"/>
                    <a:pt x="18" y="31"/>
                    <a:pt x="21" y="30"/>
                  </a:cubicBezTo>
                  <a:cubicBezTo>
                    <a:pt x="23" y="29"/>
                    <a:pt x="26" y="27"/>
                    <a:pt x="28" y="24"/>
                  </a:cubicBezTo>
                  <a:cubicBezTo>
                    <a:pt x="30" y="22"/>
                    <a:pt x="31" y="19"/>
                    <a:pt x="31" y="15"/>
                  </a:cubicBezTo>
                  <a:cubicBezTo>
                    <a:pt x="31" y="12"/>
                    <a:pt x="30" y="9"/>
                    <a:pt x="28" y="6"/>
                  </a:cubicBezTo>
                  <a:cubicBezTo>
                    <a:pt x="26" y="4"/>
                    <a:pt x="23" y="2"/>
                    <a:pt x="21" y="1"/>
                  </a:cubicBezTo>
                  <a:cubicBezTo>
                    <a:pt x="18" y="0"/>
                    <a:pt x="15" y="0"/>
                    <a:pt x="12" y="0"/>
                  </a:cubicBezTo>
                  <a:cubicBezTo>
                    <a:pt x="10" y="1"/>
                    <a:pt x="8" y="2"/>
                    <a:pt x="6" y="3"/>
                  </a:cubicBezTo>
                  <a:cubicBezTo>
                    <a:pt x="3" y="6"/>
                    <a:pt x="1" y="9"/>
                    <a:pt x="1" y="12"/>
                  </a:cubicBezTo>
                  <a:cubicBezTo>
                    <a:pt x="0" y="13"/>
                    <a:pt x="0" y="14"/>
                    <a:pt x="0" y="14"/>
                  </a:cubicBezTo>
                  <a:cubicBezTo>
                    <a:pt x="0" y="15"/>
                    <a:pt x="0" y="15"/>
                    <a:pt x="0" y="15"/>
                  </a:cubicBezTo>
                  <a:close/>
                </a:path>
              </a:pathLst>
            </a:custGeom>
            <a:solidFill>
              <a:srgbClr val="0014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41">
              <a:extLst>
                <a:ext uri="{FF2B5EF4-FFF2-40B4-BE49-F238E27FC236}">
                  <a16:creationId xmlns:a16="http://schemas.microsoft.com/office/drawing/2014/main" id="{B17D0602-3501-4E99-86B9-3003D21A230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23500" y="930276"/>
              <a:ext cx="192088" cy="198438"/>
            </a:xfrm>
            <a:custGeom>
              <a:avLst/>
              <a:gdLst>
                <a:gd name="T0" fmla="*/ 0 w 30"/>
                <a:gd name="T1" fmla="*/ 15 h 31"/>
                <a:gd name="T2" fmla="*/ 1 w 30"/>
                <a:gd name="T3" fmla="*/ 12 h 31"/>
                <a:gd name="T4" fmla="*/ 6 w 30"/>
                <a:gd name="T5" fmla="*/ 4 h 31"/>
                <a:gd name="T6" fmla="*/ 12 w 30"/>
                <a:gd name="T7" fmla="*/ 1 h 31"/>
                <a:gd name="T8" fmla="*/ 20 w 30"/>
                <a:gd name="T9" fmla="*/ 2 h 31"/>
                <a:gd name="T10" fmla="*/ 26 w 30"/>
                <a:gd name="T11" fmla="*/ 7 h 31"/>
                <a:gd name="T12" fmla="*/ 29 w 30"/>
                <a:gd name="T13" fmla="*/ 15 h 31"/>
                <a:gd name="T14" fmla="*/ 26 w 30"/>
                <a:gd name="T15" fmla="*/ 24 h 31"/>
                <a:gd name="T16" fmla="*/ 20 w 30"/>
                <a:gd name="T17" fmla="*/ 29 h 31"/>
                <a:gd name="T18" fmla="*/ 12 w 30"/>
                <a:gd name="T19" fmla="*/ 30 h 31"/>
                <a:gd name="T20" fmla="*/ 6 w 30"/>
                <a:gd name="T21" fmla="*/ 27 h 31"/>
                <a:gd name="T22" fmla="*/ 1 w 30"/>
                <a:gd name="T23" fmla="*/ 19 h 31"/>
                <a:gd name="T24" fmla="*/ 0 w 30"/>
                <a:gd name="T25" fmla="*/ 15 h 31"/>
                <a:gd name="T26" fmla="*/ 0 w 30"/>
                <a:gd name="T27" fmla="*/ 16 h 31"/>
                <a:gd name="T28" fmla="*/ 0 w 30"/>
                <a:gd name="T29" fmla="*/ 19 h 31"/>
                <a:gd name="T30" fmla="*/ 6 w 30"/>
                <a:gd name="T31" fmla="*/ 27 h 31"/>
                <a:gd name="T32" fmla="*/ 12 w 30"/>
                <a:gd name="T33" fmla="*/ 30 h 31"/>
                <a:gd name="T34" fmla="*/ 20 w 30"/>
                <a:gd name="T35" fmla="*/ 30 h 31"/>
                <a:gd name="T36" fmla="*/ 27 w 30"/>
                <a:gd name="T37" fmla="*/ 24 h 31"/>
                <a:gd name="T38" fmla="*/ 30 w 30"/>
                <a:gd name="T39" fmla="*/ 15 h 31"/>
                <a:gd name="T40" fmla="*/ 27 w 30"/>
                <a:gd name="T41" fmla="*/ 6 h 31"/>
                <a:gd name="T42" fmla="*/ 20 w 30"/>
                <a:gd name="T43" fmla="*/ 1 h 31"/>
                <a:gd name="T44" fmla="*/ 12 w 30"/>
                <a:gd name="T45" fmla="*/ 0 h 31"/>
                <a:gd name="T46" fmla="*/ 6 w 30"/>
                <a:gd name="T47" fmla="*/ 3 h 31"/>
                <a:gd name="T48" fmla="*/ 0 w 30"/>
                <a:gd name="T49" fmla="*/ 12 h 31"/>
                <a:gd name="T50" fmla="*/ 0 w 30"/>
                <a:gd name="T51" fmla="*/ 14 h 31"/>
                <a:gd name="T52" fmla="*/ 0 w 30"/>
                <a:gd name="T53" fmla="*/ 1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0" h="31">
                  <a:moveTo>
                    <a:pt x="0" y="15"/>
                  </a:moveTo>
                  <a:cubicBezTo>
                    <a:pt x="0" y="15"/>
                    <a:pt x="0" y="14"/>
                    <a:pt x="1" y="12"/>
                  </a:cubicBezTo>
                  <a:cubicBezTo>
                    <a:pt x="1" y="9"/>
                    <a:pt x="3" y="6"/>
                    <a:pt x="6" y="4"/>
                  </a:cubicBezTo>
                  <a:cubicBezTo>
                    <a:pt x="8" y="2"/>
                    <a:pt x="10" y="1"/>
                    <a:pt x="12" y="1"/>
                  </a:cubicBezTo>
                  <a:cubicBezTo>
                    <a:pt x="15" y="1"/>
                    <a:pt x="17" y="1"/>
                    <a:pt x="20" y="2"/>
                  </a:cubicBezTo>
                  <a:cubicBezTo>
                    <a:pt x="22" y="3"/>
                    <a:pt x="25" y="4"/>
                    <a:pt x="26" y="7"/>
                  </a:cubicBezTo>
                  <a:cubicBezTo>
                    <a:pt x="28" y="9"/>
                    <a:pt x="29" y="12"/>
                    <a:pt x="29" y="15"/>
                  </a:cubicBezTo>
                  <a:cubicBezTo>
                    <a:pt x="29" y="18"/>
                    <a:pt x="28" y="21"/>
                    <a:pt x="26" y="24"/>
                  </a:cubicBezTo>
                  <a:cubicBezTo>
                    <a:pt x="25" y="26"/>
                    <a:pt x="22" y="28"/>
                    <a:pt x="20" y="29"/>
                  </a:cubicBezTo>
                  <a:cubicBezTo>
                    <a:pt x="17" y="30"/>
                    <a:pt x="15" y="30"/>
                    <a:pt x="12" y="30"/>
                  </a:cubicBezTo>
                  <a:cubicBezTo>
                    <a:pt x="10" y="29"/>
                    <a:pt x="8" y="28"/>
                    <a:pt x="6" y="27"/>
                  </a:cubicBezTo>
                  <a:cubicBezTo>
                    <a:pt x="3" y="24"/>
                    <a:pt x="1" y="21"/>
                    <a:pt x="1" y="19"/>
                  </a:cubicBezTo>
                  <a:cubicBezTo>
                    <a:pt x="0" y="17"/>
                    <a:pt x="0" y="15"/>
                    <a:pt x="0" y="15"/>
                  </a:cubicBezTo>
                  <a:cubicBezTo>
                    <a:pt x="0" y="15"/>
                    <a:pt x="0" y="16"/>
                    <a:pt x="0" y="16"/>
                  </a:cubicBezTo>
                  <a:cubicBezTo>
                    <a:pt x="0" y="17"/>
                    <a:pt x="0" y="18"/>
                    <a:pt x="0" y="19"/>
                  </a:cubicBezTo>
                  <a:cubicBezTo>
                    <a:pt x="1" y="21"/>
                    <a:pt x="2" y="25"/>
                    <a:pt x="6" y="27"/>
                  </a:cubicBezTo>
                  <a:cubicBezTo>
                    <a:pt x="7" y="29"/>
                    <a:pt x="9" y="30"/>
                    <a:pt x="12" y="30"/>
                  </a:cubicBezTo>
                  <a:cubicBezTo>
                    <a:pt x="15" y="31"/>
                    <a:pt x="17" y="31"/>
                    <a:pt x="20" y="30"/>
                  </a:cubicBezTo>
                  <a:cubicBezTo>
                    <a:pt x="23" y="29"/>
                    <a:pt x="25" y="27"/>
                    <a:pt x="27" y="24"/>
                  </a:cubicBezTo>
                  <a:cubicBezTo>
                    <a:pt x="29" y="22"/>
                    <a:pt x="30" y="19"/>
                    <a:pt x="30" y="15"/>
                  </a:cubicBezTo>
                  <a:cubicBezTo>
                    <a:pt x="30" y="12"/>
                    <a:pt x="29" y="9"/>
                    <a:pt x="27" y="6"/>
                  </a:cubicBezTo>
                  <a:cubicBezTo>
                    <a:pt x="25" y="4"/>
                    <a:pt x="23" y="2"/>
                    <a:pt x="20" y="1"/>
                  </a:cubicBezTo>
                  <a:cubicBezTo>
                    <a:pt x="17" y="0"/>
                    <a:pt x="15" y="0"/>
                    <a:pt x="12" y="0"/>
                  </a:cubicBezTo>
                  <a:cubicBezTo>
                    <a:pt x="10" y="1"/>
                    <a:pt x="7" y="2"/>
                    <a:pt x="6" y="3"/>
                  </a:cubicBezTo>
                  <a:cubicBezTo>
                    <a:pt x="2" y="6"/>
                    <a:pt x="1" y="9"/>
                    <a:pt x="0" y="12"/>
                  </a:cubicBezTo>
                  <a:cubicBezTo>
                    <a:pt x="0" y="13"/>
                    <a:pt x="0" y="14"/>
                    <a:pt x="0" y="14"/>
                  </a:cubicBezTo>
                  <a:cubicBezTo>
                    <a:pt x="0" y="15"/>
                    <a:pt x="0" y="15"/>
                    <a:pt x="0" y="15"/>
                  </a:cubicBezTo>
                  <a:close/>
                </a:path>
              </a:pathLst>
            </a:custGeom>
            <a:solidFill>
              <a:srgbClr val="0014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Oval 42">
              <a:extLst>
                <a:ext uri="{FF2B5EF4-FFF2-40B4-BE49-F238E27FC236}">
                  <a16:creationId xmlns:a16="http://schemas.microsoft.com/office/drawing/2014/main" id="{C7B02D9F-7899-44C1-8031-7ECF33B29D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415588" y="1027113"/>
              <a:ext cx="31750" cy="6350"/>
            </a:xfrm>
            <a:prstGeom prst="ellipse">
              <a:avLst/>
            </a:prstGeom>
            <a:solidFill>
              <a:srgbClr val="0014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43">
              <a:extLst>
                <a:ext uri="{FF2B5EF4-FFF2-40B4-BE49-F238E27FC236}">
                  <a16:creationId xmlns:a16="http://schemas.microsoft.com/office/drawing/2014/main" id="{09CDC6EB-41D7-48C2-865F-F883B4965BA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33075" y="1046163"/>
              <a:ext cx="166688" cy="38100"/>
            </a:xfrm>
            <a:custGeom>
              <a:avLst/>
              <a:gdLst>
                <a:gd name="T0" fmla="*/ 0 w 26"/>
                <a:gd name="T1" fmla="*/ 0 h 6"/>
                <a:gd name="T2" fmla="*/ 13 w 26"/>
                <a:gd name="T3" fmla="*/ 4 h 6"/>
                <a:gd name="T4" fmla="*/ 26 w 26"/>
                <a:gd name="T5" fmla="*/ 6 h 6"/>
                <a:gd name="T6" fmla="*/ 13 w 26"/>
                <a:gd name="T7" fmla="*/ 3 h 6"/>
                <a:gd name="T8" fmla="*/ 0 w 26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6">
                  <a:moveTo>
                    <a:pt x="0" y="0"/>
                  </a:moveTo>
                  <a:cubicBezTo>
                    <a:pt x="0" y="1"/>
                    <a:pt x="6" y="2"/>
                    <a:pt x="13" y="4"/>
                  </a:cubicBezTo>
                  <a:cubicBezTo>
                    <a:pt x="20" y="5"/>
                    <a:pt x="26" y="6"/>
                    <a:pt x="26" y="6"/>
                  </a:cubicBezTo>
                  <a:cubicBezTo>
                    <a:pt x="26" y="5"/>
                    <a:pt x="20" y="4"/>
                    <a:pt x="13" y="3"/>
                  </a:cubicBezTo>
                  <a:cubicBezTo>
                    <a:pt x="6" y="1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0014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44">
              <a:extLst>
                <a:ext uri="{FF2B5EF4-FFF2-40B4-BE49-F238E27FC236}">
                  <a16:creationId xmlns:a16="http://schemas.microsoft.com/office/drawing/2014/main" id="{852AD261-4E6D-4083-AB0B-E9CDEF49C0AA}"/>
                </a:ext>
              </a:extLst>
            </p:cNvPr>
            <p:cNvSpPr>
              <a:spLocks/>
            </p:cNvSpPr>
            <p:nvPr/>
          </p:nvSpPr>
          <p:spPr bwMode="auto">
            <a:xfrm>
              <a:off x="8863013" y="2119313"/>
              <a:ext cx="96838" cy="127000"/>
            </a:xfrm>
            <a:custGeom>
              <a:avLst/>
              <a:gdLst>
                <a:gd name="T0" fmla="*/ 1 w 15"/>
                <a:gd name="T1" fmla="*/ 12 h 20"/>
                <a:gd name="T2" fmla="*/ 10 w 15"/>
                <a:gd name="T3" fmla="*/ 18 h 20"/>
                <a:gd name="T4" fmla="*/ 14 w 15"/>
                <a:gd name="T5" fmla="*/ 8 h 20"/>
                <a:gd name="T6" fmla="*/ 4 w 15"/>
                <a:gd name="T7" fmla="*/ 2 h 20"/>
                <a:gd name="T8" fmla="*/ 1 w 15"/>
                <a:gd name="T9" fmla="*/ 1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20">
                  <a:moveTo>
                    <a:pt x="1" y="12"/>
                  </a:moveTo>
                  <a:cubicBezTo>
                    <a:pt x="3" y="17"/>
                    <a:pt x="7" y="20"/>
                    <a:pt x="10" y="18"/>
                  </a:cubicBezTo>
                  <a:cubicBezTo>
                    <a:pt x="14" y="17"/>
                    <a:pt x="15" y="13"/>
                    <a:pt x="14" y="8"/>
                  </a:cubicBezTo>
                  <a:cubicBezTo>
                    <a:pt x="12" y="3"/>
                    <a:pt x="8" y="0"/>
                    <a:pt x="4" y="2"/>
                  </a:cubicBezTo>
                  <a:cubicBezTo>
                    <a:pt x="1" y="3"/>
                    <a:pt x="0" y="8"/>
                    <a:pt x="1" y="12"/>
                  </a:cubicBezTo>
                  <a:close/>
                </a:path>
              </a:pathLst>
            </a:custGeom>
            <a:solidFill>
              <a:srgbClr val="F3F0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4" name="Freeform 45">
              <a:extLst>
                <a:ext uri="{FF2B5EF4-FFF2-40B4-BE49-F238E27FC236}">
                  <a16:creationId xmlns:a16="http://schemas.microsoft.com/office/drawing/2014/main" id="{9C902E33-8932-4431-A094-08DC66369DF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9575" y="1492251"/>
              <a:ext cx="307975" cy="1444625"/>
            </a:xfrm>
            <a:custGeom>
              <a:avLst/>
              <a:gdLst>
                <a:gd name="T0" fmla="*/ 12 w 48"/>
                <a:gd name="T1" fmla="*/ 224 h 226"/>
                <a:gd name="T2" fmla="*/ 16 w 48"/>
                <a:gd name="T3" fmla="*/ 35 h 226"/>
                <a:gd name="T4" fmla="*/ 48 w 48"/>
                <a:gd name="T5" fmla="*/ 1 h 226"/>
                <a:gd name="T6" fmla="*/ 36 w 48"/>
                <a:gd name="T7" fmla="*/ 2 h 226"/>
                <a:gd name="T8" fmla="*/ 7 w 48"/>
                <a:gd name="T9" fmla="*/ 45 h 226"/>
                <a:gd name="T10" fmla="*/ 1 w 48"/>
                <a:gd name="T11" fmla="*/ 226 h 226"/>
                <a:gd name="T12" fmla="*/ 12 w 48"/>
                <a:gd name="T13" fmla="*/ 224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226">
                  <a:moveTo>
                    <a:pt x="12" y="224"/>
                  </a:moveTo>
                  <a:cubicBezTo>
                    <a:pt x="12" y="224"/>
                    <a:pt x="10" y="48"/>
                    <a:pt x="16" y="35"/>
                  </a:cubicBezTo>
                  <a:cubicBezTo>
                    <a:pt x="16" y="35"/>
                    <a:pt x="23" y="1"/>
                    <a:pt x="48" y="1"/>
                  </a:cubicBezTo>
                  <a:cubicBezTo>
                    <a:pt x="36" y="2"/>
                    <a:pt x="36" y="2"/>
                    <a:pt x="36" y="2"/>
                  </a:cubicBezTo>
                  <a:cubicBezTo>
                    <a:pt x="36" y="2"/>
                    <a:pt x="14" y="0"/>
                    <a:pt x="7" y="45"/>
                  </a:cubicBezTo>
                  <a:cubicBezTo>
                    <a:pt x="0" y="90"/>
                    <a:pt x="1" y="226"/>
                    <a:pt x="1" y="226"/>
                  </a:cubicBezTo>
                  <a:lnTo>
                    <a:pt x="12" y="224"/>
                  </a:lnTo>
                  <a:close/>
                </a:path>
              </a:pathLst>
            </a:custGeom>
            <a:solidFill>
              <a:srgbClr val="2A47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5" name="Freeform 46">
              <a:extLst>
                <a:ext uri="{FF2B5EF4-FFF2-40B4-BE49-F238E27FC236}">
                  <a16:creationId xmlns:a16="http://schemas.microsoft.com/office/drawing/2014/main" id="{D31A86B4-606D-4B92-A5B8-A21BEC6326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6200" y="1538288"/>
              <a:ext cx="95250" cy="1423988"/>
            </a:xfrm>
            <a:custGeom>
              <a:avLst/>
              <a:gdLst>
                <a:gd name="T0" fmla="*/ 15 w 15"/>
                <a:gd name="T1" fmla="*/ 223 h 223"/>
                <a:gd name="T2" fmla="*/ 13 w 15"/>
                <a:gd name="T3" fmla="*/ 0 h 223"/>
                <a:gd name="T4" fmla="*/ 6 w 15"/>
                <a:gd name="T5" fmla="*/ 0 h 223"/>
                <a:gd name="T6" fmla="*/ 1 w 15"/>
                <a:gd name="T7" fmla="*/ 66 h 223"/>
                <a:gd name="T8" fmla="*/ 1 w 15"/>
                <a:gd name="T9" fmla="*/ 223 h 223"/>
                <a:gd name="T10" fmla="*/ 15 w 15"/>
                <a:gd name="T11" fmla="*/ 223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" h="223">
                  <a:moveTo>
                    <a:pt x="15" y="223"/>
                  </a:moveTo>
                  <a:cubicBezTo>
                    <a:pt x="15" y="223"/>
                    <a:pt x="8" y="21"/>
                    <a:pt x="13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0" y="17"/>
                    <a:pt x="1" y="66"/>
                  </a:cubicBezTo>
                  <a:cubicBezTo>
                    <a:pt x="2" y="95"/>
                    <a:pt x="1" y="223"/>
                    <a:pt x="1" y="223"/>
                  </a:cubicBezTo>
                  <a:lnTo>
                    <a:pt x="15" y="223"/>
                  </a:lnTo>
                  <a:close/>
                </a:path>
              </a:pathLst>
            </a:custGeom>
            <a:solidFill>
              <a:srgbClr val="2A47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6" name="Freeform 47">
              <a:extLst>
                <a:ext uri="{FF2B5EF4-FFF2-40B4-BE49-F238E27FC236}">
                  <a16:creationId xmlns:a16="http://schemas.microsoft.com/office/drawing/2014/main" id="{BAE48FD1-C25D-4AB8-ACEA-091B061C6097}"/>
                </a:ext>
              </a:extLst>
            </p:cNvPr>
            <p:cNvSpPr>
              <a:spLocks/>
            </p:cNvSpPr>
            <p:nvPr/>
          </p:nvSpPr>
          <p:spPr bwMode="auto">
            <a:xfrm>
              <a:off x="9375775" y="2393951"/>
              <a:ext cx="436563" cy="185738"/>
            </a:xfrm>
            <a:custGeom>
              <a:avLst/>
              <a:gdLst>
                <a:gd name="T0" fmla="*/ 68 w 68"/>
                <a:gd name="T1" fmla="*/ 0 h 29"/>
                <a:gd name="T2" fmla="*/ 27 w 68"/>
                <a:gd name="T3" fmla="*/ 20 h 29"/>
                <a:gd name="T4" fmla="*/ 2 w 68"/>
                <a:gd name="T5" fmla="*/ 23 h 29"/>
                <a:gd name="T6" fmla="*/ 27 w 68"/>
                <a:gd name="T7" fmla="*/ 29 h 29"/>
                <a:gd name="T8" fmla="*/ 68 w 68"/>
                <a:gd name="T9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8" h="29">
                  <a:moveTo>
                    <a:pt x="68" y="0"/>
                  </a:moveTo>
                  <a:cubicBezTo>
                    <a:pt x="68" y="0"/>
                    <a:pt x="35" y="21"/>
                    <a:pt x="27" y="20"/>
                  </a:cubicBezTo>
                  <a:cubicBezTo>
                    <a:pt x="20" y="20"/>
                    <a:pt x="0" y="20"/>
                    <a:pt x="2" y="23"/>
                  </a:cubicBezTo>
                  <a:cubicBezTo>
                    <a:pt x="4" y="25"/>
                    <a:pt x="27" y="29"/>
                    <a:pt x="27" y="29"/>
                  </a:cubicBezTo>
                  <a:lnTo>
                    <a:pt x="68" y="0"/>
                  </a:lnTo>
                  <a:close/>
                </a:path>
              </a:pathLst>
            </a:custGeom>
            <a:solidFill>
              <a:srgbClr val="F6BA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7" name="Freeform 48">
              <a:extLst>
                <a:ext uri="{FF2B5EF4-FFF2-40B4-BE49-F238E27FC236}">
                  <a16:creationId xmlns:a16="http://schemas.microsoft.com/office/drawing/2014/main" id="{BEB0D6EF-4102-4084-95E5-08DEADBDC07D}"/>
                </a:ext>
              </a:extLst>
            </p:cNvPr>
            <p:cNvSpPr>
              <a:spLocks/>
            </p:cNvSpPr>
            <p:nvPr/>
          </p:nvSpPr>
          <p:spPr bwMode="auto">
            <a:xfrm>
              <a:off x="9548813" y="1863726"/>
              <a:ext cx="1571625" cy="1079500"/>
            </a:xfrm>
            <a:custGeom>
              <a:avLst/>
              <a:gdLst>
                <a:gd name="T0" fmla="*/ 43 w 245"/>
                <a:gd name="T1" fmla="*/ 127 h 169"/>
                <a:gd name="T2" fmla="*/ 222 w 245"/>
                <a:gd name="T3" fmla="*/ 101 h 169"/>
                <a:gd name="T4" fmla="*/ 245 w 245"/>
                <a:gd name="T5" fmla="*/ 48 h 169"/>
                <a:gd name="T6" fmla="*/ 196 w 245"/>
                <a:gd name="T7" fmla="*/ 0 h 169"/>
                <a:gd name="T8" fmla="*/ 162 w 245"/>
                <a:gd name="T9" fmla="*/ 85 h 169"/>
                <a:gd name="T10" fmla="*/ 57 w 245"/>
                <a:gd name="T11" fmla="*/ 86 h 169"/>
                <a:gd name="T12" fmla="*/ 51 w 245"/>
                <a:gd name="T13" fmla="*/ 80 h 169"/>
                <a:gd name="T14" fmla="*/ 46 w 245"/>
                <a:gd name="T15" fmla="*/ 74 h 169"/>
                <a:gd name="T16" fmla="*/ 42 w 245"/>
                <a:gd name="T17" fmla="*/ 64 h 169"/>
                <a:gd name="T18" fmla="*/ 36 w 245"/>
                <a:gd name="T19" fmla="*/ 62 h 169"/>
                <a:gd name="T20" fmla="*/ 41 w 245"/>
                <a:gd name="T21" fmla="*/ 83 h 169"/>
                <a:gd name="T22" fmla="*/ 0 w 245"/>
                <a:gd name="T23" fmla="*/ 112 h 169"/>
                <a:gd name="T24" fmla="*/ 43 w 245"/>
                <a:gd name="T25" fmla="*/ 127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5" h="169">
                  <a:moveTo>
                    <a:pt x="43" y="127"/>
                  </a:moveTo>
                  <a:cubicBezTo>
                    <a:pt x="43" y="127"/>
                    <a:pt x="200" y="169"/>
                    <a:pt x="222" y="101"/>
                  </a:cubicBezTo>
                  <a:cubicBezTo>
                    <a:pt x="244" y="29"/>
                    <a:pt x="245" y="48"/>
                    <a:pt x="245" y="48"/>
                  </a:cubicBezTo>
                  <a:cubicBezTo>
                    <a:pt x="196" y="0"/>
                    <a:pt x="196" y="0"/>
                    <a:pt x="196" y="0"/>
                  </a:cubicBezTo>
                  <a:cubicBezTo>
                    <a:pt x="196" y="0"/>
                    <a:pt x="169" y="83"/>
                    <a:pt x="162" y="85"/>
                  </a:cubicBezTo>
                  <a:cubicBezTo>
                    <a:pt x="121" y="96"/>
                    <a:pt x="74" y="89"/>
                    <a:pt x="57" y="86"/>
                  </a:cubicBezTo>
                  <a:cubicBezTo>
                    <a:pt x="55" y="85"/>
                    <a:pt x="53" y="83"/>
                    <a:pt x="51" y="80"/>
                  </a:cubicBezTo>
                  <a:cubicBezTo>
                    <a:pt x="49" y="79"/>
                    <a:pt x="47" y="76"/>
                    <a:pt x="46" y="74"/>
                  </a:cubicBezTo>
                  <a:cubicBezTo>
                    <a:pt x="44" y="71"/>
                    <a:pt x="42" y="66"/>
                    <a:pt x="42" y="64"/>
                  </a:cubicBezTo>
                  <a:cubicBezTo>
                    <a:pt x="41" y="60"/>
                    <a:pt x="37" y="59"/>
                    <a:pt x="36" y="62"/>
                  </a:cubicBezTo>
                  <a:cubicBezTo>
                    <a:pt x="34" y="65"/>
                    <a:pt x="35" y="74"/>
                    <a:pt x="41" y="83"/>
                  </a:cubicBezTo>
                  <a:cubicBezTo>
                    <a:pt x="41" y="83"/>
                    <a:pt x="4" y="107"/>
                    <a:pt x="0" y="112"/>
                  </a:cubicBezTo>
                  <a:lnTo>
                    <a:pt x="43" y="127"/>
                  </a:lnTo>
                  <a:close/>
                </a:path>
              </a:pathLst>
            </a:custGeom>
            <a:solidFill>
              <a:srgbClr val="F6BA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8" name="Freeform 49">
              <a:extLst>
                <a:ext uri="{FF2B5EF4-FFF2-40B4-BE49-F238E27FC236}">
                  <a16:creationId xmlns:a16="http://schemas.microsoft.com/office/drawing/2014/main" id="{EFA7358D-A210-454D-88BB-89C4F7A0F2E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14025" y="1498601"/>
              <a:ext cx="531813" cy="1041400"/>
            </a:xfrm>
            <a:custGeom>
              <a:avLst/>
              <a:gdLst>
                <a:gd name="T0" fmla="*/ 45 w 83"/>
                <a:gd name="T1" fmla="*/ 0 h 163"/>
                <a:gd name="T2" fmla="*/ 82 w 83"/>
                <a:gd name="T3" fmla="*/ 63 h 163"/>
                <a:gd name="T4" fmla="*/ 61 w 83"/>
                <a:gd name="T5" fmla="*/ 163 h 163"/>
                <a:gd name="T6" fmla="*/ 0 w 83"/>
                <a:gd name="T7" fmla="*/ 131 h 163"/>
                <a:gd name="T8" fmla="*/ 45 w 83"/>
                <a:gd name="T9" fmla="*/ 0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3" h="163">
                  <a:moveTo>
                    <a:pt x="45" y="0"/>
                  </a:moveTo>
                  <a:cubicBezTo>
                    <a:pt x="45" y="0"/>
                    <a:pt x="80" y="7"/>
                    <a:pt x="82" y="63"/>
                  </a:cubicBezTo>
                  <a:cubicBezTo>
                    <a:pt x="83" y="120"/>
                    <a:pt x="61" y="163"/>
                    <a:pt x="61" y="163"/>
                  </a:cubicBezTo>
                  <a:cubicBezTo>
                    <a:pt x="0" y="131"/>
                    <a:pt x="0" y="131"/>
                    <a:pt x="0" y="131"/>
                  </a:cubicBezTo>
                  <a:cubicBezTo>
                    <a:pt x="45" y="0"/>
                    <a:pt x="45" y="0"/>
                    <a:pt x="45" y="0"/>
                  </a:cubicBezTo>
                </a:path>
              </a:pathLst>
            </a:custGeom>
            <a:solidFill>
              <a:srgbClr val="FCD5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9" name="Freeform 50">
              <a:extLst>
                <a:ext uri="{FF2B5EF4-FFF2-40B4-BE49-F238E27FC236}">
                  <a16:creationId xmlns:a16="http://schemas.microsoft.com/office/drawing/2014/main" id="{513C2B05-7975-48A1-8B81-DFAF0F05C72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14025" y="2336801"/>
              <a:ext cx="390525" cy="203200"/>
            </a:xfrm>
            <a:custGeom>
              <a:avLst/>
              <a:gdLst>
                <a:gd name="T0" fmla="*/ 0 w 61"/>
                <a:gd name="T1" fmla="*/ 0 h 32"/>
                <a:gd name="T2" fmla="*/ 9 w 61"/>
                <a:gd name="T3" fmla="*/ 5 h 32"/>
                <a:gd name="T4" fmla="*/ 31 w 61"/>
                <a:gd name="T5" fmla="*/ 15 h 32"/>
                <a:gd name="T6" fmla="*/ 52 w 61"/>
                <a:gd name="T7" fmla="*/ 27 h 32"/>
                <a:gd name="T8" fmla="*/ 61 w 61"/>
                <a:gd name="T9" fmla="*/ 32 h 32"/>
                <a:gd name="T10" fmla="*/ 53 w 61"/>
                <a:gd name="T11" fmla="*/ 26 h 32"/>
                <a:gd name="T12" fmla="*/ 32 w 61"/>
                <a:gd name="T13" fmla="*/ 14 h 32"/>
                <a:gd name="T14" fmla="*/ 10 w 61"/>
                <a:gd name="T15" fmla="*/ 3 h 32"/>
                <a:gd name="T16" fmla="*/ 0 w 61"/>
                <a:gd name="T17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32">
                  <a:moveTo>
                    <a:pt x="0" y="0"/>
                  </a:moveTo>
                  <a:cubicBezTo>
                    <a:pt x="0" y="0"/>
                    <a:pt x="3" y="2"/>
                    <a:pt x="9" y="5"/>
                  </a:cubicBezTo>
                  <a:cubicBezTo>
                    <a:pt x="15" y="7"/>
                    <a:pt x="22" y="11"/>
                    <a:pt x="31" y="15"/>
                  </a:cubicBezTo>
                  <a:cubicBezTo>
                    <a:pt x="39" y="20"/>
                    <a:pt x="47" y="24"/>
                    <a:pt x="52" y="27"/>
                  </a:cubicBezTo>
                  <a:cubicBezTo>
                    <a:pt x="58" y="30"/>
                    <a:pt x="61" y="32"/>
                    <a:pt x="61" y="32"/>
                  </a:cubicBezTo>
                  <a:cubicBezTo>
                    <a:pt x="61" y="32"/>
                    <a:pt x="58" y="30"/>
                    <a:pt x="53" y="26"/>
                  </a:cubicBezTo>
                  <a:cubicBezTo>
                    <a:pt x="48" y="23"/>
                    <a:pt x="40" y="18"/>
                    <a:pt x="32" y="14"/>
                  </a:cubicBezTo>
                  <a:cubicBezTo>
                    <a:pt x="23" y="9"/>
                    <a:pt x="15" y="6"/>
                    <a:pt x="10" y="3"/>
                  </a:cubicBezTo>
                  <a:cubicBezTo>
                    <a:pt x="4" y="1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EDB7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0" name="Freeform 51">
              <a:extLst>
                <a:ext uri="{FF2B5EF4-FFF2-40B4-BE49-F238E27FC236}">
                  <a16:creationId xmlns:a16="http://schemas.microsoft.com/office/drawing/2014/main" id="{132D0BD0-1FC8-44A9-9420-51D5165340E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26725" y="2311401"/>
              <a:ext cx="398463" cy="190500"/>
            </a:xfrm>
            <a:custGeom>
              <a:avLst/>
              <a:gdLst>
                <a:gd name="T0" fmla="*/ 0 w 62"/>
                <a:gd name="T1" fmla="*/ 0 h 30"/>
                <a:gd name="T2" fmla="*/ 10 w 62"/>
                <a:gd name="T3" fmla="*/ 4 h 30"/>
                <a:gd name="T4" fmla="*/ 32 w 62"/>
                <a:gd name="T5" fmla="*/ 14 h 30"/>
                <a:gd name="T6" fmla="*/ 53 w 62"/>
                <a:gd name="T7" fmla="*/ 25 h 30"/>
                <a:gd name="T8" fmla="*/ 61 w 62"/>
                <a:gd name="T9" fmla="*/ 30 h 30"/>
                <a:gd name="T10" fmla="*/ 53 w 62"/>
                <a:gd name="T11" fmla="*/ 24 h 30"/>
                <a:gd name="T12" fmla="*/ 32 w 62"/>
                <a:gd name="T13" fmla="*/ 12 h 30"/>
                <a:gd name="T14" fmla="*/ 10 w 62"/>
                <a:gd name="T15" fmla="*/ 3 h 30"/>
                <a:gd name="T16" fmla="*/ 0 w 62"/>
                <a:gd name="T1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2" h="30">
                  <a:moveTo>
                    <a:pt x="0" y="0"/>
                  </a:moveTo>
                  <a:cubicBezTo>
                    <a:pt x="0" y="0"/>
                    <a:pt x="4" y="2"/>
                    <a:pt x="10" y="4"/>
                  </a:cubicBezTo>
                  <a:cubicBezTo>
                    <a:pt x="15" y="6"/>
                    <a:pt x="23" y="10"/>
                    <a:pt x="32" y="14"/>
                  </a:cubicBezTo>
                  <a:cubicBezTo>
                    <a:pt x="40" y="18"/>
                    <a:pt x="47" y="22"/>
                    <a:pt x="53" y="25"/>
                  </a:cubicBezTo>
                  <a:cubicBezTo>
                    <a:pt x="58" y="28"/>
                    <a:pt x="61" y="30"/>
                    <a:pt x="61" y="30"/>
                  </a:cubicBezTo>
                  <a:cubicBezTo>
                    <a:pt x="62" y="29"/>
                    <a:pt x="59" y="27"/>
                    <a:pt x="53" y="24"/>
                  </a:cubicBezTo>
                  <a:cubicBezTo>
                    <a:pt x="48" y="20"/>
                    <a:pt x="41" y="16"/>
                    <a:pt x="32" y="12"/>
                  </a:cubicBezTo>
                  <a:cubicBezTo>
                    <a:pt x="24" y="8"/>
                    <a:pt x="16" y="5"/>
                    <a:pt x="10" y="3"/>
                  </a:cubicBezTo>
                  <a:cubicBezTo>
                    <a:pt x="4" y="1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EDB7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1" name="Freeform 52">
              <a:extLst>
                <a:ext uri="{FF2B5EF4-FFF2-40B4-BE49-F238E27FC236}">
                  <a16:creationId xmlns:a16="http://schemas.microsoft.com/office/drawing/2014/main" id="{BB86F6B9-B779-4F69-953E-4498149C09A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29913" y="1787526"/>
              <a:ext cx="19050" cy="139700"/>
            </a:xfrm>
            <a:custGeom>
              <a:avLst/>
              <a:gdLst>
                <a:gd name="T0" fmla="*/ 2 w 3"/>
                <a:gd name="T1" fmla="*/ 21 h 22"/>
                <a:gd name="T2" fmla="*/ 3 w 3"/>
                <a:gd name="T3" fmla="*/ 11 h 22"/>
                <a:gd name="T4" fmla="*/ 0 w 3"/>
                <a:gd name="T5" fmla="*/ 1 h 22"/>
                <a:gd name="T6" fmla="*/ 1 w 3"/>
                <a:gd name="T7" fmla="*/ 11 h 22"/>
                <a:gd name="T8" fmla="*/ 2 w 3"/>
                <a:gd name="T9" fmla="*/ 2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22">
                  <a:moveTo>
                    <a:pt x="2" y="21"/>
                  </a:moveTo>
                  <a:cubicBezTo>
                    <a:pt x="2" y="22"/>
                    <a:pt x="3" y="17"/>
                    <a:pt x="3" y="11"/>
                  </a:cubicBezTo>
                  <a:cubicBezTo>
                    <a:pt x="2" y="5"/>
                    <a:pt x="1" y="0"/>
                    <a:pt x="0" y="1"/>
                  </a:cubicBezTo>
                  <a:cubicBezTo>
                    <a:pt x="0" y="1"/>
                    <a:pt x="0" y="5"/>
                    <a:pt x="1" y="11"/>
                  </a:cubicBezTo>
                  <a:cubicBezTo>
                    <a:pt x="1" y="17"/>
                    <a:pt x="1" y="21"/>
                    <a:pt x="2" y="21"/>
                  </a:cubicBezTo>
                  <a:close/>
                </a:path>
              </a:pathLst>
            </a:custGeom>
            <a:solidFill>
              <a:srgbClr val="EDB7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2" name="Freeform 53">
              <a:extLst>
                <a:ext uri="{FF2B5EF4-FFF2-40B4-BE49-F238E27FC236}">
                  <a16:creationId xmlns:a16="http://schemas.microsoft.com/office/drawing/2014/main" id="{121205E1-A665-4BB9-BAE2-3C8679B1DE8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14025" y="1812926"/>
              <a:ext cx="160338" cy="523875"/>
            </a:xfrm>
            <a:custGeom>
              <a:avLst/>
              <a:gdLst>
                <a:gd name="T0" fmla="*/ 0 w 25"/>
                <a:gd name="T1" fmla="*/ 82 h 82"/>
                <a:gd name="T2" fmla="*/ 6 w 25"/>
                <a:gd name="T3" fmla="*/ 71 h 82"/>
                <a:gd name="T4" fmla="*/ 17 w 25"/>
                <a:gd name="T5" fmla="*/ 42 h 82"/>
                <a:gd name="T6" fmla="*/ 23 w 25"/>
                <a:gd name="T7" fmla="*/ 12 h 82"/>
                <a:gd name="T8" fmla="*/ 24 w 25"/>
                <a:gd name="T9" fmla="*/ 0 h 82"/>
                <a:gd name="T10" fmla="*/ 22 w 25"/>
                <a:gd name="T11" fmla="*/ 12 h 82"/>
                <a:gd name="T12" fmla="*/ 15 w 25"/>
                <a:gd name="T13" fmla="*/ 42 h 82"/>
                <a:gd name="T14" fmla="*/ 4 w 25"/>
                <a:gd name="T15" fmla="*/ 70 h 82"/>
                <a:gd name="T16" fmla="*/ 0 w 25"/>
                <a:gd name="T17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" h="82">
                  <a:moveTo>
                    <a:pt x="0" y="82"/>
                  </a:moveTo>
                  <a:cubicBezTo>
                    <a:pt x="0" y="82"/>
                    <a:pt x="3" y="78"/>
                    <a:pt x="6" y="71"/>
                  </a:cubicBezTo>
                  <a:cubicBezTo>
                    <a:pt x="9" y="64"/>
                    <a:pt x="13" y="54"/>
                    <a:pt x="17" y="42"/>
                  </a:cubicBezTo>
                  <a:cubicBezTo>
                    <a:pt x="20" y="31"/>
                    <a:pt x="22" y="20"/>
                    <a:pt x="23" y="12"/>
                  </a:cubicBezTo>
                  <a:cubicBezTo>
                    <a:pt x="24" y="5"/>
                    <a:pt x="25" y="0"/>
                    <a:pt x="24" y="0"/>
                  </a:cubicBezTo>
                  <a:cubicBezTo>
                    <a:pt x="24" y="0"/>
                    <a:pt x="23" y="4"/>
                    <a:pt x="22" y="12"/>
                  </a:cubicBezTo>
                  <a:cubicBezTo>
                    <a:pt x="20" y="20"/>
                    <a:pt x="18" y="30"/>
                    <a:pt x="15" y="42"/>
                  </a:cubicBezTo>
                  <a:cubicBezTo>
                    <a:pt x="11" y="53"/>
                    <a:pt x="7" y="63"/>
                    <a:pt x="4" y="70"/>
                  </a:cubicBezTo>
                  <a:cubicBezTo>
                    <a:pt x="2" y="77"/>
                    <a:pt x="0" y="82"/>
                    <a:pt x="0" y="82"/>
                  </a:cubicBezTo>
                  <a:close/>
                </a:path>
              </a:pathLst>
            </a:custGeom>
            <a:solidFill>
              <a:srgbClr val="EDB7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cxnSp>
        <p:nvCxnSpPr>
          <p:cNvPr id="1036" name="Straight Connector 1035">
            <a:extLst>
              <a:ext uri="{FF2B5EF4-FFF2-40B4-BE49-F238E27FC236}">
                <a16:creationId xmlns:a16="http://schemas.microsoft.com/office/drawing/2014/main" id="{FBB2F154-5A32-4E37-B633-EC7A0DF2D43D}"/>
              </a:ext>
            </a:extLst>
          </p:cNvPr>
          <p:cNvCxnSpPr>
            <a:cxnSpLocks/>
            <a:endCxn id="13" idx="1"/>
          </p:cNvCxnSpPr>
          <p:nvPr/>
        </p:nvCxnSpPr>
        <p:spPr>
          <a:xfrm>
            <a:off x="0" y="3317316"/>
            <a:ext cx="2552700" cy="1"/>
          </a:xfrm>
          <a:prstGeom prst="line">
            <a:avLst/>
          </a:prstGeom>
          <a:ln>
            <a:solidFill>
              <a:srgbClr val="2E1437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angle 1">
            <a:extLst>
              <a:ext uri="{FF2B5EF4-FFF2-40B4-BE49-F238E27FC236}">
                <a16:creationId xmlns:a16="http://schemas.microsoft.com/office/drawing/2014/main" id="{DF702F4F-F441-4CA3-A848-97C1B701CE0B}"/>
              </a:ext>
            </a:extLst>
          </p:cNvPr>
          <p:cNvSpPr/>
          <p:nvPr/>
        </p:nvSpPr>
        <p:spPr>
          <a:xfrm>
            <a:off x="3774923" y="2283036"/>
            <a:ext cx="4642183" cy="441158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3" name="Picture 3">
            <a:extLst>
              <a:ext uri="{FF2B5EF4-FFF2-40B4-BE49-F238E27FC236}">
                <a16:creationId xmlns:a16="http://schemas.microsoft.com/office/drawing/2014/main" id="{770226A7-6B49-4F71-91CE-0863642E893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33372" y="2344529"/>
            <a:ext cx="335723" cy="3136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942363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B7D59AF8-7D97-4E8C-A419-AE013020B7BE}"/>
              </a:ext>
            </a:extLst>
          </p:cNvPr>
          <p:cNvSpPr/>
          <p:nvPr/>
        </p:nvSpPr>
        <p:spPr>
          <a:xfrm>
            <a:off x="1379543" y="1492190"/>
            <a:ext cx="9425577" cy="4624570"/>
          </a:xfrm>
          <a:prstGeom prst="roundRect">
            <a:avLst>
              <a:gd name="adj" fmla="val 5523"/>
            </a:avLst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FC10FF2-A030-4DF9-B3E9-80BF47367006}"/>
              </a:ext>
            </a:extLst>
          </p:cNvPr>
          <p:cNvSpPr txBox="1"/>
          <p:nvPr/>
        </p:nvSpPr>
        <p:spPr>
          <a:xfrm>
            <a:off x="838200" y="327025"/>
            <a:ext cx="10515600" cy="830997"/>
          </a:xfrm>
          <a:prstGeom prst="rect">
            <a:avLst/>
          </a:prstGeom>
          <a:noFill/>
          <a:effectLst/>
        </p:spPr>
        <p:txBody>
          <a:bodyPr wrap="square" lIns="0" tIns="0" rIns="0" bIns="0" rtlCol="0" anchor="t">
            <a:spAutoFit/>
          </a:bodyPr>
          <a:lstStyle/>
          <a:p>
            <a:pPr algn="r"/>
            <a:r>
              <a:rPr lang="en-US" altLang="ko-KR" sz="5400" b="1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Use</a:t>
            </a:r>
            <a:r>
              <a:rPr lang="ko-KR" altLang="en-US" sz="5400" b="1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 </a:t>
            </a:r>
            <a:r>
              <a:rPr lang="en-US" altLang="ko-KR" sz="5400" b="1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Case</a:t>
            </a:r>
            <a:r>
              <a:rPr lang="ko-KR" altLang="en-US" sz="5400" b="1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 </a:t>
            </a:r>
            <a:r>
              <a:rPr lang="en-US" altLang="ko-KR" sz="5400" b="1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Diagram</a:t>
            </a:r>
            <a:endParaRPr lang="ko-KR" altLang="en-US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A3BBA7F-BCCD-4A20-A1E8-81DC7C7206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3E0A61-7EA5-4F01-AA83-D9B74E02F9FC}" type="datetime1">
              <a:rPr lang="en-US" smtClean="0"/>
              <a:t>7/3/2019</a:t>
            </a:fld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86B17AD-BC4C-433E-BA80-64D220DBC4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C45652-25C1-4BF0-A3A9-200AF1F974E6}" type="slidenum">
              <a:rPr lang="en-US" smtClean="0"/>
              <a:t>10</a:t>
            </a:fld>
            <a:endParaRPr lang="en-US"/>
          </a:p>
        </p:txBody>
      </p:sp>
      <p:pic>
        <p:nvPicPr>
          <p:cNvPr id="9" name="Picture 10" descr="텍스트이(가) 표시된 사진&#10;&#10;높은 신뢰도로 생성된 설명">
            <a:extLst>
              <a:ext uri="{FF2B5EF4-FFF2-40B4-BE49-F238E27FC236}">
                <a16:creationId xmlns:a16="http://schemas.microsoft.com/office/drawing/2014/main" id="{69B9991F-594C-4FEE-9856-6FC77CA17A4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76" r="135" b="-249"/>
          <a:stretch/>
        </p:blipFill>
        <p:spPr>
          <a:xfrm>
            <a:off x="1455530" y="1763264"/>
            <a:ext cx="8099349" cy="4018842"/>
          </a:xfrm>
          <a:prstGeom prst="rect">
            <a:avLst/>
          </a:prstGeom>
        </p:spPr>
      </p:pic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F7043C3E-8F3A-455C-8C41-3801A8F28C28}"/>
              </a:ext>
            </a:extLst>
          </p:cNvPr>
          <p:cNvCxnSpPr>
            <a:cxnSpLocks/>
          </p:cNvCxnSpPr>
          <p:nvPr/>
        </p:nvCxnSpPr>
        <p:spPr>
          <a:xfrm>
            <a:off x="60158" y="742523"/>
            <a:ext cx="5321853" cy="0"/>
          </a:xfrm>
          <a:prstGeom prst="line">
            <a:avLst/>
          </a:prstGeom>
          <a:ln>
            <a:solidFill>
              <a:srgbClr val="2E1437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2051953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2" name="Straight Arrow Connector 51">
            <a:extLst>
              <a:ext uri="{FF2B5EF4-FFF2-40B4-BE49-F238E27FC236}">
                <a16:creationId xmlns:a16="http://schemas.microsoft.com/office/drawing/2014/main" id="{049D67A5-E704-40B4-82D7-E0DE64092D8B}"/>
              </a:ext>
            </a:extLst>
          </p:cNvPr>
          <p:cNvCxnSpPr>
            <a:cxnSpLocks/>
          </p:cNvCxnSpPr>
          <p:nvPr/>
        </p:nvCxnSpPr>
        <p:spPr>
          <a:xfrm>
            <a:off x="2836069" y="2805904"/>
            <a:ext cx="0" cy="3623008"/>
          </a:xfrm>
          <a:prstGeom prst="straightConnector1">
            <a:avLst/>
          </a:prstGeom>
          <a:ln>
            <a:solidFill>
              <a:schemeClr val="tx2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8F5E6090-95C5-4CDF-947C-85C339E2708E}"/>
              </a:ext>
            </a:extLst>
          </p:cNvPr>
          <p:cNvCxnSpPr>
            <a:cxnSpLocks/>
          </p:cNvCxnSpPr>
          <p:nvPr/>
        </p:nvCxnSpPr>
        <p:spPr>
          <a:xfrm>
            <a:off x="9202780" y="2805904"/>
            <a:ext cx="0" cy="1848351"/>
          </a:xfrm>
          <a:prstGeom prst="straightConnector1">
            <a:avLst/>
          </a:prstGeom>
          <a:ln>
            <a:solidFill>
              <a:schemeClr val="tx2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3A60F158-60E7-49DA-8B7F-B0FF8A2139EB}"/>
              </a:ext>
            </a:extLst>
          </p:cNvPr>
          <p:cNvCxnSpPr>
            <a:cxnSpLocks/>
          </p:cNvCxnSpPr>
          <p:nvPr/>
        </p:nvCxnSpPr>
        <p:spPr>
          <a:xfrm>
            <a:off x="6767913" y="1382128"/>
            <a:ext cx="2482390" cy="10026"/>
          </a:xfrm>
          <a:prstGeom prst="line">
            <a:avLst/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1A4CD4B-F87F-4BE9-AEF5-4E68C5D555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C75738-883E-4D82-874A-987559CF11A8}" type="datetime1">
              <a:rPr lang="en-US" smtClean="0"/>
              <a:t>7/3/2019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AF9FE27-70E1-44B2-A8D4-22B1FBB9F4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4A7955-6230-48B4-BD8B-A7C460F75945}" type="slidenum">
              <a:rPr lang="en-US" smtClean="0"/>
              <a:t>11</a:t>
            </a:fld>
            <a:endParaRPr lang="en-US"/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42121974-F50C-417B-BF7F-C5A2E6127C52}"/>
              </a:ext>
            </a:extLst>
          </p:cNvPr>
          <p:cNvSpPr/>
          <p:nvPr/>
        </p:nvSpPr>
        <p:spPr>
          <a:xfrm>
            <a:off x="2126458" y="2386803"/>
            <a:ext cx="1419225" cy="4191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>
                <a:solidFill>
                  <a:prstClr val="white"/>
                </a:solidFill>
                <a:latin typeface="맑은 고딕"/>
                <a:ea typeface="맑은 고딕"/>
              </a:rPr>
              <a:t>강의</a:t>
            </a:r>
            <a:endParaRPr lang="en-US" sz="1400">
              <a:solidFill>
                <a:prstClr val="white"/>
              </a:solidFill>
              <a:latin typeface="맑은 고딕"/>
              <a:ea typeface="맑은 고딕"/>
            </a:endParaRP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E929685B-1D4E-4B07-96C2-023D2EFA61DE}"/>
              </a:ext>
            </a:extLst>
          </p:cNvPr>
          <p:cNvSpPr/>
          <p:nvPr/>
        </p:nvSpPr>
        <p:spPr>
          <a:xfrm>
            <a:off x="5386388" y="2386803"/>
            <a:ext cx="1419225" cy="4191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400" err="1">
                <a:latin typeface="맑은 고딕"/>
                <a:ea typeface="맑은 고딕"/>
              </a:rPr>
              <a:t>채용</a:t>
            </a:r>
            <a:r>
              <a:rPr lang="en-US" altLang="ko-KR" sz="1400">
                <a:latin typeface="맑은 고딕"/>
                <a:ea typeface="맑은 고딕"/>
              </a:rPr>
              <a:t> </a:t>
            </a:r>
            <a:r>
              <a:rPr lang="en-US" altLang="ko-KR" sz="1400" err="1">
                <a:latin typeface="맑은 고딕"/>
                <a:ea typeface="맑은 고딕"/>
              </a:rPr>
              <a:t>테스트</a:t>
            </a:r>
            <a:endParaRPr lang="en-US" sz="1400" err="1">
              <a:latin typeface="맑은 고딕"/>
              <a:ea typeface="맑은 고딕"/>
            </a:endParaRP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93E1D3EB-19C6-463C-BA3C-70912EBA3AA7}"/>
              </a:ext>
            </a:extLst>
          </p:cNvPr>
          <p:cNvSpPr/>
          <p:nvPr/>
        </p:nvSpPr>
        <p:spPr>
          <a:xfrm>
            <a:off x="5386388" y="1179113"/>
            <a:ext cx="1419225" cy="4191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>
                <a:latin typeface="맑은 고딕"/>
                <a:ea typeface="맑은 고딕"/>
              </a:rPr>
              <a:t>WWW</a:t>
            </a:r>
            <a:endParaRPr lang="ko-KR" altLang="en-US" sz="1400">
              <a:solidFill>
                <a:prstClr val="white"/>
              </a:solidFill>
              <a:latin typeface="맑은 고딕"/>
              <a:ea typeface="맑은 고딕"/>
            </a:endParaRPr>
          </a:p>
        </p:txBody>
      </p:sp>
      <p:cxnSp>
        <p:nvCxnSpPr>
          <p:cNvPr id="103" name="Straight Arrow Connector 102">
            <a:extLst>
              <a:ext uri="{FF2B5EF4-FFF2-40B4-BE49-F238E27FC236}">
                <a16:creationId xmlns:a16="http://schemas.microsoft.com/office/drawing/2014/main" id="{BC3B028D-85D5-4E3C-98E6-C2DDA408C863}"/>
              </a:ext>
            </a:extLst>
          </p:cNvPr>
          <p:cNvCxnSpPr>
            <a:stCxn id="93" idx="2"/>
            <a:endCxn id="92" idx="0"/>
          </p:cNvCxnSpPr>
          <p:nvPr/>
        </p:nvCxnSpPr>
        <p:spPr>
          <a:xfrm>
            <a:off x="6096001" y="1598213"/>
            <a:ext cx="0" cy="788590"/>
          </a:xfrm>
          <a:prstGeom prst="straightConnector1">
            <a:avLst/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Arrow Connector 103">
            <a:extLst>
              <a:ext uri="{FF2B5EF4-FFF2-40B4-BE49-F238E27FC236}">
                <a16:creationId xmlns:a16="http://schemas.microsoft.com/office/drawing/2014/main" id="{9711ED3C-D7AD-42D4-9687-292E16267E75}"/>
              </a:ext>
            </a:extLst>
          </p:cNvPr>
          <p:cNvCxnSpPr>
            <a:cxnSpLocks/>
            <a:stCxn id="92" idx="2"/>
          </p:cNvCxnSpPr>
          <p:nvPr/>
        </p:nvCxnSpPr>
        <p:spPr>
          <a:xfrm>
            <a:off x="6096000" y="2805904"/>
            <a:ext cx="0" cy="420117"/>
          </a:xfrm>
          <a:prstGeom prst="straightConnector1">
            <a:avLst/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 31">
            <a:extLst>
              <a:ext uri="{FF2B5EF4-FFF2-40B4-BE49-F238E27FC236}">
                <a16:creationId xmlns:a16="http://schemas.microsoft.com/office/drawing/2014/main" id="{88B1C63E-DD29-46F4-9946-C576A6863C0C}"/>
              </a:ext>
            </a:extLst>
          </p:cNvPr>
          <p:cNvSpPr/>
          <p:nvPr/>
        </p:nvSpPr>
        <p:spPr>
          <a:xfrm>
            <a:off x="8493168" y="2386803"/>
            <a:ext cx="1419225" cy="4191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>
                <a:latin typeface="맑은 고딕"/>
                <a:ea typeface="맑은 고딕"/>
              </a:rPr>
              <a:t>고객센터</a:t>
            </a:r>
            <a:endParaRPr lang="ko-KR"/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40BE0498-34EB-4087-A183-7CA78F38DDB1}"/>
              </a:ext>
            </a:extLst>
          </p:cNvPr>
          <p:cNvCxnSpPr>
            <a:cxnSpLocks/>
          </p:cNvCxnSpPr>
          <p:nvPr/>
        </p:nvCxnSpPr>
        <p:spPr>
          <a:xfrm>
            <a:off x="0" y="742523"/>
            <a:ext cx="7442200" cy="0"/>
          </a:xfrm>
          <a:prstGeom prst="line">
            <a:avLst/>
          </a:prstGeom>
          <a:ln>
            <a:solidFill>
              <a:srgbClr val="2E1437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7B48157D-FC34-4A86-AE19-1B1AF8FD2760}"/>
              </a:ext>
            </a:extLst>
          </p:cNvPr>
          <p:cNvSpPr txBox="1"/>
          <p:nvPr/>
        </p:nvSpPr>
        <p:spPr>
          <a:xfrm>
            <a:off x="838200" y="327025"/>
            <a:ext cx="10515600" cy="830997"/>
          </a:xfrm>
          <a:prstGeom prst="rect">
            <a:avLst/>
          </a:prstGeom>
          <a:noFill/>
          <a:effectLst/>
        </p:spPr>
        <p:txBody>
          <a:bodyPr wrap="square" lIns="0" tIns="0" rIns="0" bIns="0" rtlCol="0" anchor="t">
            <a:spAutoFit/>
          </a:bodyPr>
          <a:lstStyle/>
          <a:p>
            <a:pPr algn="r"/>
            <a:r>
              <a:rPr lang="ko-KR" altLang="en-US" sz="5400" b="1" err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Segoe UI Black" panose="020B0A02040204020203" pitchFamily="34" charset="0"/>
                <a:cs typeface="Segoe UI" panose="020B0502040204020203" pitchFamily="34" charset="0"/>
              </a:rPr>
              <a:t>Menu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2509D16D-F849-458C-B627-5F42CE3E7332}"/>
              </a:ext>
            </a:extLst>
          </p:cNvPr>
          <p:cNvSpPr/>
          <p:nvPr/>
        </p:nvSpPr>
        <p:spPr>
          <a:xfrm>
            <a:off x="2127835" y="3109661"/>
            <a:ext cx="1419225" cy="4191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>
                <a:latin typeface="맑은 고딕"/>
                <a:ea typeface="맑은 고딕"/>
              </a:rPr>
              <a:t>HTML/CSS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09686B07-12DC-4675-BC68-321B504EBEB8}"/>
              </a:ext>
            </a:extLst>
          </p:cNvPr>
          <p:cNvSpPr/>
          <p:nvPr/>
        </p:nvSpPr>
        <p:spPr>
          <a:xfrm>
            <a:off x="2127835" y="3731293"/>
            <a:ext cx="1419225" cy="4191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 err="1">
                <a:latin typeface="맑은 고딕"/>
                <a:ea typeface="맑은 고딕"/>
              </a:rPr>
              <a:t>Java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8CEE3ED9-043A-4D1B-9BE7-65CD9165EFCD}"/>
              </a:ext>
            </a:extLst>
          </p:cNvPr>
          <p:cNvSpPr/>
          <p:nvPr/>
        </p:nvSpPr>
        <p:spPr>
          <a:xfrm>
            <a:off x="8494545" y="3109662"/>
            <a:ext cx="1419225" cy="4191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sz="1400">
                <a:latin typeface="Malgun Gothic"/>
                <a:ea typeface="Malgun Gothic"/>
              </a:rPr>
              <a:t>공지사항</a:t>
            </a:r>
            <a:endParaRPr lang="ko-KR" sz="1400">
              <a:ea typeface="+mn-lt"/>
              <a:cs typeface="+mn-l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8981FAD1-5FAB-4958-9C3D-1015AD3782A6}"/>
              </a:ext>
            </a:extLst>
          </p:cNvPr>
          <p:cNvSpPr/>
          <p:nvPr/>
        </p:nvSpPr>
        <p:spPr>
          <a:xfrm>
            <a:off x="8494544" y="3731293"/>
            <a:ext cx="1419225" cy="4191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>
                <a:latin typeface="맑은 고딕"/>
                <a:ea typeface="맑은 고딕"/>
              </a:rPr>
              <a:t>FAQ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6C0BC20B-8561-4B25-8F39-B937A4CDAE65}"/>
              </a:ext>
            </a:extLst>
          </p:cNvPr>
          <p:cNvSpPr/>
          <p:nvPr/>
        </p:nvSpPr>
        <p:spPr>
          <a:xfrm>
            <a:off x="8494544" y="4342898"/>
            <a:ext cx="1419225" cy="4191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sz="1400">
                <a:latin typeface="Malgun Gothic"/>
                <a:ea typeface="Malgun Gothic"/>
              </a:rPr>
              <a:t>Q&amp;A</a:t>
            </a:r>
            <a:endParaRPr lang="en-US" altLang="ko-KR" sz="1400">
              <a:latin typeface="Malgun Gothic"/>
              <a:ea typeface="Malgun Gothic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50C5A510-07CC-4E1A-93F0-C14710E70409}"/>
              </a:ext>
            </a:extLst>
          </p:cNvPr>
          <p:cNvSpPr/>
          <p:nvPr/>
        </p:nvSpPr>
        <p:spPr>
          <a:xfrm>
            <a:off x="5386387" y="3109662"/>
            <a:ext cx="1419225" cy="4191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>
                <a:latin typeface="맑은 고딕"/>
                <a:ea typeface="맑은 고딕"/>
              </a:rPr>
              <a:t>응시자 로그인</a:t>
            </a:r>
          </a:p>
        </p:txBody>
      </p: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BF22D109-F133-4912-83E3-15FE331E621B}"/>
              </a:ext>
            </a:extLst>
          </p:cNvPr>
          <p:cNvCxnSpPr>
            <a:cxnSpLocks/>
          </p:cNvCxnSpPr>
          <p:nvPr/>
        </p:nvCxnSpPr>
        <p:spPr>
          <a:xfrm>
            <a:off x="2837448" y="1946727"/>
            <a:ext cx="0" cy="447695"/>
          </a:xfrm>
          <a:prstGeom prst="straightConnector1">
            <a:avLst/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E13CC869-9621-4874-AF11-159DEFFD6588}"/>
              </a:ext>
            </a:extLst>
          </p:cNvPr>
          <p:cNvCxnSpPr>
            <a:cxnSpLocks/>
          </p:cNvCxnSpPr>
          <p:nvPr/>
        </p:nvCxnSpPr>
        <p:spPr>
          <a:xfrm>
            <a:off x="9204158" y="1945122"/>
            <a:ext cx="0" cy="437670"/>
          </a:xfrm>
          <a:prstGeom prst="straightConnector1">
            <a:avLst/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Rectangle 46">
            <a:extLst>
              <a:ext uri="{FF2B5EF4-FFF2-40B4-BE49-F238E27FC236}">
                <a16:creationId xmlns:a16="http://schemas.microsoft.com/office/drawing/2014/main" id="{70FDFC35-92A5-4A20-9545-74FD5A74172E}"/>
              </a:ext>
            </a:extLst>
          </p:cNvPr>
          <p:cNvSpPr/>
          <p:nvPr/>
        </p:nvSpPr>
        <p:spPr>
          <a:xfrm>
            <a:off x="7371598" y="1183645"/>
            <a:ext cx="1419225" cy="4191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400" err="1">
                <a:latin typeface="맑은 고딕"/>
                <a:ea typeface="맑은 고딕"/>
              </a:rPr>
              <a:t>로그인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64D5E0C7-1B5B-4BF8-A564-E5EB4DBD2E22}"/>
              </a:ext>
            </a:extLst>
          </p:cNvPr>
          <p:cNvSpPr/>
          <p:nvPr/>
        </p:nvSpPr>
        <p:spPr>
          <a:xfrm>
            <a:off x="9076071" y="1183644"/>
            <a:ext cx="1419225" cy="4191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400" err="1">
                <a:latin typeface="맑은 고딕"/>
                <a:ea typeface="맑은 고딕"/>
              </a:rPr>
              <a:t>회원가입</a:t>
            </a: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201EC397-7D0C-456C-BF57-9906B5342863}"/>
              </a:ext>
            </a:extLst>
          </p:cNvPr>
          <p:cNvCxnSpPr/>
          <p:nvPr/>
        </p:nvCxnSpPr>
        <p:spPr>
          <a:xfrm>
            <a:off x="2820166" y="1921544"/>
            <a:ext cx="6402806" cy="20187"/>
          </a:xfrm>
          <a:prstGeom prst="straightConnector1">
            <a:avLst/>
          </a:prstGeom>
          <a:ln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Rectangle 41">
            <a:extLst>
              <a:ext uri="{FF2B5EF4-FFF2-40B4-BE49-F238E27FC236}">
                <a16:creationId xmlns:a16="http://schemas.microsoft.com/office/drawing/2014/main" id="{AE09A0B2-F578-40C7-BAF1-87F4CB004A68}"/>
              </a:ext>
            </a:extLst>
          </p:cNvPr>
          <p:cNvSpPr/>
          <p:nvPr/>
        </p:nvSpPr>
        <p:spPr>
          <a:xfrm>
            <a:off x="2127835" y="4342898"/>
            <a:ext cx="1419225" cy="4191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 err="1">
                <a:latin typeface="맑은 고딕"/>
                <a:ea typeface="맑은 고딕"/>
              </a:rPr>
              <a:t>JavaScript</a:t>
            </a:r>
            <a:endParaRPr lang="ko-KR" err="1"/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6CF65FE7-8184-4362-8D0D-615AC48B6AA0}"/>
              </a:ext>
            </a:extLst>
          </p:cNvPr>
          <p:cNvSpPr/>
          <p:nvPr/>
        </p:nvSpPr>
        <p:spPr>
          <a:xfrm>
            <a:off x="2127835" y="4964530"/>
            <a:ext cx="1419225" cy="4191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>
                <a:latin typeface="맑은 고딕"/>
                <a:ea typeface="맑은 고딕"/>
              </a:rPr>
              <a:t>C++​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466636EF-5700-4B43-B887-CAB0E7FD7919}"/>
              </a:ext>
            </a:extLst>
          </p:cNvPr>
          <p:cNvSpPr/>
          <p:nvPr/>
        </p:nvSpPr>
        <p:spPr>
          <a:xfrm>
            <a:off x="2127835" y="5586162"/>
            <a:ext cx="1419225" cy="4191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>
                <a:latin typeface="맑은 고딕"/>
                <a:ea typeface="맑은 고딕"/>
              </a:rPr>
              <a:t>C#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E1222B27-B1FF-4758-A73D-899D6EBD2E9E}"/>
              </a:ext>
            </a:extLst>
          </p:cNvPr>
          <p:cNvSpPr/>
          <p:nvPr/>
        </p:nvSpPr>
        <p:spPr>
          <a:xfrm>
            <a:off x="2127834" y="6207792"/>
            <a:ext cx="1419225" cy="4191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>
                <a:latin typeface="맑은 고딕"/>
                <a:ea typeface="맑은 고딕"/>
              </a:rPr>
              <a:t>SQL</a:t>
            </a:r>
          </a:p>
        </p:txBody>
      </p:sp>
    </p:spTree>
    <p:extLst>
      <p:ext uri="{BB962C8B-B14F-4D97-AF65-F5344CB8AC3E}">
        <p14:creationId xmlns:p14="http://schemas.microsoft.com/office/powerpoint/2010/main" val="356016977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2" name="Straight Arrow Connector 51">
            <a:extLst>
              <a:ext uri="{FF2B5EF4-FFF2-40B4-BE49-F238E27FC236}">
                <a16:creationId xmlns:a16="http://schemas.microsoft.com/office/drawing/2014/main" id="{049D67A5-E704-40B4-82D7-E0DE64092D8B}"/>
              </a:ext>
            </a:extLst>
          </p:cNvPr>
          <p:cNvCxnSpPr>
            <a:cxnSpLocks/>
          </p:cNvCxnSpPr>
          <p:nvPr/>
        </p:nvCxnSpPr>
        <p:spPr>
          <a:xfrm>
            <a:off x="2851309" y="2805904"/>
            <a:ext cx="15240" cy="2077753"/>
          </a:xfrm>
          <a:prstGeom prst="straightConnector1">
            <a:avLst/>
          </a:prstGeom>
          <a:ln>
            <a:solidFill>
              <a:schemeClr val="tx2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8F5E6090-95C5-4CDF-947C-85C339E2708E}"/>
              </a:ext>
            </a:extLst>
          </p:cNvPr>
          <p:cNvCxnSpPr>
            <a:cxnSpLocks/>
          </p:cNvCxnSpPr>
          <p:nvPr/>
        </p:nvCxnSpPr>
        <p:spPr>
          <a:xfrm>
            <a:off x="9195160" y="2805904"/>
            <a:ext cx="15240" cy="2732271"/>
          </a:xfrm>
          <a:prstGeom prst="straightConnector1">
            <a:avLst/>
          </a:prstGeom>
          <a:ln>
            <a:solidFill>
              <a:schemeClr val="tx2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1A4CD4B-F87F-4BE9-AEF5-4E68C5D555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C75738-883E-4D82-874A-987559CF11A8}" type="datetime1">
              <a:rPr lang="en-US" smtClean="0"/>
              <a:t>7/3/2019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AF9FE27-70E1-44B2-A8D4-22B1FBB9F4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4A7955-6230-48B4-BD8B-A7C460F75945}" type="slidenum">
              <a:rPr lang="en-US" smtClean="0"/>
              <a:t>12</a:t>
            </a:fld>
            <a:endParaRPr lang="en-US"/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42121974-F50C-417B-BF7F-C5A2E6127C52}"/>
              </a:ext>
            </a:extLst>
          </p:cNvPr>
          <p:cNvSpPr/>
          <p:nvPr/>
        </p:nvSpPr>
        <p:spPr>
          <a:xfrm>
            <a:off x="2126458" y="2386803"/>
            <a:ext cx="1419225" cy="4191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>
                <a:latin typeface="맑은 고딕"/>
                <a:ea typeface="맑은 고딕"/>
              </a:rPr>
              <a:t>일반 회원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E929685B-1D4E-4B07-96C2-023D2EFA61DE}"/>
              </a:ext>
            </a:extLst>
          </p:cNvPr>
          <p:cNvSpPr/>
          <p:nvPr/>
        </p:nvSpPr>
        <p:spPr>
          <a:xfrm>
            <a:off x="5386388" y="2386803"/>
            <a:ext cx="1419225" cy="4191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400" err="1">
                <a:latin typeface="맑은 고딕"/>
                <a:ea typeface="맑은 고딕"/>
              </a:rPr>
              <a:t>강사</a:t>
            </a:r>
            <a:r>
              <a:rPr lang="en-US" altLang="ko-KR" sz="1400">
                <a:latin typeface="맑은 고딕"/>
                <a:ea typeface="맑은 고딕"/>
              </a:rPr>
              <a:t> 회원</a:t>
            </a: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93E1D3EB-19C6-463C-BA3C-70912EBA3AA7}"/>
              </a:ext>
            </a:extLst>
          </p:cNvPr>
          <p:cNvSpPr/>
          <p:nvPr/>
        </p:nvSpPr>
        <p:spPr>
          <a:xfrm>
            <a:off x="5386388" y="1179113"/>
            <a:ext cx="1419225" cy="4191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>
                <a:latin typeface="맑은 고딕"/>
                <a:ea typeface="맑은 고딕"/>
              </a:rPr>
              <a:t>마이페이지</a:t>
            </a:r>
            <a:endParaRPr lang="ko-KR" altLang="en-US" sz="1400">
              <a:solidFill>
                <a:prstClr val="white"/>
              </a:solidFill>
              <a:latin typeface="맑은 고딕"/>
              <a:ea typeface="맑은 고딕"/>
            </a:endParaRPr>
          </a:p>
        </p:txBody>
      </p:sp>
      <p:cxnSp>
        <p:nvCxnSpPr>
          <p:cNvPr id="103" name="Straight Arrow Connector 102">
            <a:extLst>
              <a:ext uri="{FF2B5EF4-FFF2-40B4-BE49-F238E27FC236}">
                <a16:creationId xmlns:a16="http://schemas.microsoft.com/office/drawing/2014/main" id="{BC3B028D-85D5-4E3C-98E6-C2DDA408C863}"/>
              </a:ext>
            </a:extLst>
          </p:cNvPr>
          <p:cNvCxnSpPr>
            <a:stCxn id="93" idx="2"/>
            <a:endCxn id="92" idx="0"/>
          </p:cNvCxnSpPr>
          <p:nvPr/>
        </p:nvCxnSpPr>
        <p:spPr>
          <a:xfrm>
            <a:off x="6096001" y="1598213"/>
            <a:ext cx="0" cy="788590"/>
          </a:xfrm>
          <a:prstGeom prst="straightConnector1">
            <a:avLst/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Arrow Connector 103">
            <a:extLst>
              <a:ext uri="{FF2B5EF4-FFF2-40B4-BE49-F238E27FC236}">
                <a16:creationId xmlns:a16="http://schemas.microsoft.com/office/drawing/2014/main" id="{9711ED3C-D7AD-42D4-9687-292E16267E75}"/>
              </a:ext>
            </a:extLst>
          </p:cNvPr>
          <p:cNvCxnSpPr>
            <a:cxnSpLocks/>
            <a:stCxn id="92" idx="2"/>
          </p:cNvCxnSpPr>
          <p:nvPr/>
        </p:nvCxnSpPr>
        <p:spPr>
          <a:xfrm>
            <a:off x="6098406" y="2805904"/>
            <a:ext cx="2808" cy="3533889"/>
          </a:xfrm>
          <a:prstGeom prst="straightConnector1">
            <a:avLst/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 31">
            <a:extLst>
              <a:ext uri="{FF2B5EF4-FFF2-40B4-BE49-F238E27FC236}">
                <a16:creationId xmlns:a16="http://schemas.microsoft.com/office/drawing/2014/main" id="{88B1C63E-DD29-46F4-9946-C576A6863C0C}"/>
              </a:ext>
            </a:extLst>
          </p:cNvPr>
          <p:cNvSpPr/>
          <p:nvPr/>
        </p:nvSpPr>
        <p:spPr>
          <a:xfrm>
            <a:off x="8493168" y="2386803"/>
            <a:ext cx="1419225" cy="4191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>
                <a:latin typeface="맑은 고딕"/>
                <a:ea typeface="맑은 고딕"/>
              </a:rPr>
              <a:t>기업 회원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40BE0498-34EB-4087-A183-7CA78F38DDB1}"/>
              </a:ext>
            </a:extLst>
          </p:cNvPr>
          <p:cNvCxnSpPr>
            <a:cxnSpLocks/>
          </p:cNvCxnSpPr>
          <p:nvPr/>
        </p:nvCxnSpPr>
        <p:spPr>
          <a:xfrm>
            <a:off x="0" y="742523"/>
            <a:ext cx="7442200" cy="0"/>
          </a:xfrm>
          <a:prstGeom prst="line">
            <a:avLst/>
          </a:prstGeom>
          <a:ln>
            <a:solidFill>
              <a:srgbClr val="2E1437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7B48157D-FC34-4A86-AE19-1B1AF8FD2760}"/>
              </a:ext>
            </a:extLst>
          </p:cNvPr>
          <p:cNvSpPr txBox="1"/>
          <p:nvPr/>
        </p:nvSpPr>
        <p:spPr>
          <a:xfrm>
            <a:off x="838200" y="327025"/>
            <a:ext cx="10515600" cy="830997"/>
          </a:xfrm>
          <a:prstGeom prst="rect">
            <a:avLst/>
          </a:prstGeom>
          <a:noFill/>
          <a:effectLst/>
        </p:spPr>
        <p:txBody>
          <a:bodyPr wrap="square" lIns="0" tIns="0" rIns="0" bIns="0" rtlCol="0" anchor="t">
            <a:spAutoFit/>
          </a:bodyPr>
          <a:lstStyle/>
          <a:p>
            <a:pPr algn="r"/>
            <a:r>
              <a:rPr lang="ko-KR" altLang="en-US" sz="5400" b="1" err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Segoe UI Black" panose="020B0A02040204020203" pitchFamily="34" charset="0"/>
                <a:cs typeface="Segoe UI" panose="020B0502040204020203" pitchFamily="34" charset="0"/>
              </a:rPr>
              <a:t>Menu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2509D16D-F849-458C-B627-5F42CE3E7332}"/>
              </a:ext>
            </a:extLst>
          </p:cNvPr>
          <p:cNvSpPr/>
          <p:nvPr/>
        </p:nvSpPr>
        <p:spPr>
          <a:xfrm>
            <a:off x="2127835" y="3109661"/>
            <a:ext cx="1419225" cy="4191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>
                <a:latin typeface="맑은 고딕"/>
                <a:ea typeface="맑은 고딕"/>
              </a:rPr>
              <a:t>마이페이지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09686B07-12DC-4675-BC68-321B504EBEB8}"/>
              </a:ext>
            </a:extLst>
          </p:cNvPr>
          <p:cNvSpPr/>
          <p:nvPr/>
        </p:nvSpPr>
        <p:spPr>
          <a:xfrm>
            <a:off x="2127835" y="3831556"/>
            <a:ext cx="1419225" cy="4191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>
                <a:latin typeface="맑은 고딕"/>
                <a:ea typeface="맑은 고딕"/>
              </a:rPr>
              <a:t>계정관리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8CEE3ED9-043A-4D1B-9BE7-65CD9165EFCD}"/>
              </a:ext>
            </a:extLst>
          </p:cNvPr>
          <p:cNvSpPr/>
          <p:nvPr/>
        </p:nvSpPr>
        <p:spPr>
          <a:xfrm>
            <a:off x="8494545" y="3109662"/>
            <a:ext cx="1419225" cy="4191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>
                <a:latin typeface="Malgun Gothic"/>
                <a:ea typeface="Malgun Gothic"/>
              </a:rPr>
              <a:t>마이페이지</a:t>
            </a:r>
            <a:endParaRPr lang="ko-KR" sz="1400">
              <a:latin typeface="Malgun Gothic"/>
              <a:ea typeface="Malgun Gothic"/>
              <a:cs typeface="+mn-l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8981FAD1-5FAB-4958-9C3D-1015AD3782A6}"/>
              </a:ext>
            </a:extLst>
          </p:cNvPr>
          <p:cNvSpPr/>
          <p:nvPr/>
        </p:nvSpPr>
        <p:spPr>
          <a:xfrm>
            <a:off x="8494544" y="3831556"/>
            <a:ext cx="1419225" cy="4191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>
                <a:latin typeface="맑은 고딕"/>
                <a:ea typeface="맑은 고딕"/>
              </a:rPr>
              <a:t>채용테스트 관리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6C0BC20B-8561-4B25-8F39-B937A4CDAE65}"/>
              </a:ext>
            </a:extLst>
          </p:cNvPr>
          <p:cNvSpPr/>
          <p:nvPr/>
        </p:nvSpPr>
        <p:spPr>
          <a:xfrm>
            <a:off x="8494544" y="4553451"/>
            <a:ext cx="1419225" cy="4191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sz="1400">
                <a:latin typeface="Malgun Gothic"/>
                <a:ea typeface="Malgun Gothic"/>
              </a:rPr>
              <a:t>계정관리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50C5A510-07CC-4E1A-93F0-C14710E70409}"/>
              </a:ext>
            </a:extLst>
          </p:cNvPr>
          <p:cNvSpPr/>
          <p:nvPr/>
        </p:nvSpPr>
        <p:spPr>
          <a:xfrm>
            <a:off x="5386387" y="3831557"/>
            <a:ext cx="1419225" cy="4191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>
                <a:latin typeface="맑은 고딕"/>
                <a:ea typeface="맑은 고딕"/>
              </a:rPr>
              <a:t>강의관리</a:t>
            </a:r>
          </a:p>
        </p:txBody>
      </p: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BF22D109-F133-4912-83E3-15FE331E621B}"/>
              </a:ext>
            </a:extLst>
          </p:cNvPr>
          <p:cNvCxnSpPr>
            <a:cxnSpLocks/>
          </p:cNvCxnSpPr>
          <p:nvPr/>
        </p:nvCxnSpPr>
        <p:spPr>
          <a:xfrm>
            <a:off x="2837448" y="1946727"/>
            <a:ext cx="0" cy="447695"/>
          </a:xfrm>
          <a:prstGeom prst="straightConnector1">
            <a:avLst/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E13CC869-9621-4874-AF11-159DEFFD6588}"/>
              </a:ext>
            </a:extLst>
          </p:cNvPr>
          <p:cNvCxnSpPr>
            <a:cxnSpLocks/>
          </p:cNvCxnSpPr>
          <p:nvPr/>
        </p:nvCxnSpPr>
        <p:spPr>
          <a:xfrm>
            <a:off x="9204158" y="1945122"/>
            <a:ext cx="0" cy="437670"/>
          </a:xfrm>
          <a:prstGeom prst="straightConnector1">
            <a:avLst/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ectangle 48">
            <a:extLst>
              <a:ext uri="{FF2B5EF4-FFF2-40B4-BE49-F238E27FC236}">
                <a16:creationId xmlns:a16="http://schemas.microsoft.com/office/drawing/2014/main" id="{5F7AFD3E-AD69-4B87-B18E-6E7ECC8BFC14}"/>
              </a:ext>
            </a:extLst>
          </p:cNvPr>
          <p:cNvSpPr/>
          <p:nvPr/>
        </p:nvSpPr>
        <p:spPr>
          <a:xfrm>
            <a:off x="7371598" y="732460"/>
            <a:ext cx="1419225" cy="4191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altLang="ko-KR" sz="1400" b="1">
              <a:solidFill>
                <a:schemeClr val="tx2">
                  <a:lumMod val="75000"/>
                </a:schemeClr>
              </a:solidFill>
              <a:latin typeface="맑은 고딕"/>
              <a:ea typeface="맑은 고딕"/>
            </a:endParaRP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201EC397-7D0C-456C-BF57-9906B5342863}"/>
              </a:ext>
            </a:extLst>
          </p:cNvPr>
          <p:cNvCxnSpPr/>
          <p:nvPr/>
        </p:nvCxnSpPr>
        <p:spPr>
          <a:xfrm>
            <a:off x="2820166" y="1921544"/>
            <a:ext cx="6402806" cy="20187"/>
          </a:xfrm>
          <a:prstGeom prst="straightConnector1">
            <a:avLst/>
          </a:prstGeom>
          <a:ln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Rectangle 41">
            <a:extLst>
              <a:ext uri="{FF2B5EF4-FFF2-40B4-BE49-F238E27FC236}">
                <a16:creationId xmlns:a16="http://schemas.microsoft.com/office/drawing/2014/main" id="{AE09A0B2-F578-40C7-BAF1-87F4CB004A68}"/>
              </a:ext>
            </a:extLst>
          </p:cNvPr>
          <p:cNvSpPr/>
          <p:nvPr/>
        </p:nvSpPr>
        <p:spPr>
          <a:xfrm>
            <a:off x="2127835" y="4553451"/>
            <a:ext cx="1419225" cy="4191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>
                <a:latin typeface="맑은 고딕"/>
                <a:ea typeface="맑은 고딕"/>
              </a:rPr>
              <a:t>로그아웃</a:t>
            </a:r>
            <a:endParaRPr lang="ko-KR" err="1"/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9799D764-99C2-4223-B83F-942204AF5D1D}"/>
              </a:ext>
            </a:extLst>
          </p:cNvPr>
          <p:cNvSpPr/>
          <p:nvPr/>
        </p:nvSpPr>
        <p:spPr>
          <a:xfrm>
            <a:off x="5386387" y="3109662"/>
            <a:ext cx="1419225" cy="4191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>
                <a:latin typeface="맑은 고딕"/>
                <a:ea typeface="맑은 고딕"/>
              </a:rPr>
              <a:t>마이페이지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BFB753DC-4491-4104-9646-E212A1C5E6CE}"/>
              </a:ext>
            </a:extLst>
          </p:cNvPr>
          <p:cNvSpPr/>
          <p:nvPr/>
        </p:nvSpPr>
        <p:spPr>
          <a:xfrm>
            <a:off x="5376359" y="4553450"/>
            <a:ext cx="1419225" cy="4191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>
                <a:latin typeface="맑은 고딕"/>
                <a:ea typeface="맑은 고딕"/>
              </a:rPr>
              <a:t>문제관리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B77F7876-59C5-44A9-BDCB-4220C54B07AD}"/>
              </a:ext>
            </a:extLst>
          </p:cNvPr>
          <p:cNvSpPr/>
          <p:nvPr/>
        </p:nvSpPr>
        <p:spPr>
          <a:xfrm>
            <a:off x="5376362" y="5275345"/>
            <a:ext cx="1419225" cy="4191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>
                <a:latin typeface="맑은 고딕"/>
                <a:ea typeface="맑은 고딕"/>
              </a:rPr>
              <a:t>계정관리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80F66A46-E610-459F-AD21-ADC3F4314F68}"/>
              </a:ext>
            </a:extLst>
          </p:cNvPr>
          <p:cNvSpPr/>
          <p:nvPr/>
        </p:nvSpPr>
        <p:spPr>
          <a:xfrm>
            <a:off x="5376361" y="5997240"/>
            <a:ext cx="1419225" cy="4191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>
                <a:latin typeface="맑은 고딕"/>
                <a:ea typeface="맑은 고딕"/>
              </a:rPr>
              <a:t>로그아웃</a:t>
            </a:r>
            <a:endParaRPr lang="ko-KR" err="1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0840375F-D4C8-480A-83CE-89BD4852E0FF}"/>
              </a:ext>
            </a:extLst>
          </p:cNvPr>
          <p:cNvSpPr/>
          <p:nvPr/>
        </p:nvSpPr>
        <p:spPr>
          <a:xfrm>
            <a:off x="8490133" y="5275345"/>
            <a:ext cx="1419225" cy="4191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>
                <a:latin typeface="맑은 고딕"/>
                <a:ea typeface="맑은 고딕"/>
              </a:rPr>
              <a:t>로그아웃</a:t>
            </a:r>
            <a:endParaRPr lang="ko-KR" err="1"/>
          </a:p>
        </p:txBody>
      </p:sp>
    </p:spTree>
    <p:extLst>
      <p:ext uri="{BB962C8B-B14F-4D97-AF65-F5344CB8AC3E}">
        <p14:creationId xmlns:p14="http://schemas.microsoft.com/office/powerpoint/2010/main" val="132738681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DF1CE37C-460C-43F9-A82C-3959AC20EC3C}"/>
              </a:ext>
            </a:extLst>
          </p:cNvPr>
          <p:cNvCxnSpPr>
            <a:cxnSpLocks/>
          </p:cNvCxnSpPr>
          <p:nvPr/>
        </p:nvCxnSpPr>
        <p:spPr>
          <a:xfrm>
            <a:off x="4984107" y="2793070"/>
            <a:ext cx="5214" cy="2020403"/>
          </a:xfrm>
          <a:prstGeom prst="straightConnector1">
            <a:avLst/>
          </a:prstGeom>
          <a:ln>
            <a:solidFill>
              <a:schemeClr val="tx2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B52CB195-4D1C-476C-9C4D-5AEB3FD828D1}"/>
              </a:ext>
            </a:extLst>
          </p:cNvPr>
          <p:cNvCxnSpPr/>
          <p:nvPr/>
        </p:nvCxnSpPr>
        <p:spPr>
          <a:xfrm flipH="1">
            <a:off x="6122035" y="1413145"/>
            <a:ext cx="10026" cy="598637"/>
          </a:xfrm>
          <a:prstGeom prst="straightConnector1">
            <a:avLst/>
          </a:prstGeom>
          <a:ln>
            <a:solidFill>
              <a:schemeClr val="tx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Arrow Connector 51">
            <a:extLst>
              <a:ext uri="{FF2B5EF4-FFF2-40B4-BE49-F238E27FC236}">
                <a16:creationId xmlns:a16="http://schemas.microsoft.com/office/drawing/2014/main" id="{049D67A5-E704-40B4-82D7-E0DE64092D8B}"/>
              </a:ext>
            </a:extLst>
          </p:cNvPr>
          <p:cNvCxnSpPr>
            <a:cxnSpLocks/>
          </p:cNvCxnSpPr>
          <p:nvPr/>
        </p:nvCxnSpPr>
        <p:spPr>
          <a:xfrm flipH="1">
            <a:off x="2104550" y="2785851"/>
            <a:ext cx="4812" cy="623937"/>
          </a:xfrm>
          <a:prstGeom prst="straightConnector1">
            <a:avLst/>
          </a:prstGeom>
          <a:ln>
            <a:solidFill>
              <a:schemeClr val="tx2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8F5E6090-95C5-4CDF-947C-85C339E2708E}"/>
              </a:ext>
            </a:extLst>
          </p:cNvPr>
          <p:cNvCxnSpPr>
            <a:cxnSpLocks/>
          </p:cNvCxnSpPr>
          <p:nvPr/>
        </p:nvCxnSpPr>
        <p:spPr>
          <a:xfrm>
            <a:off x="8082239" y="2805904"/>
            <a:ext cx="5214" cy="666850"/>
          </a:xfrm>
          <a:prstGeom prst="straightConnector1">
            <a:avLst/>
          </a:prstGeom>
          <a:ln>
            <a:solidFill>
              <a:schemeClr val="tx2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1A4CD4B-F87F-4BE9-AEF5-4E68C5D555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C75738-883E-4D82-874A-987559CF11A8}" type="datetime1">
              <a:rPr lang="en-US" smtClean="0"/>
              <a:t>7/3/2019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AF9FE27-70E1-44B2-A8D4-22B1FBB9F4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4A7955-6230-48B4-BD8B-A7C460F75945}" type="slidenum">
              <a:rPr lang="en-US" smtClean="0"/>
              <a:t>13</a:t>
            </a:fld>
            <a:endParaRPr lang="en-US"/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42121974-F50C-417B-BF7F-C5A2E6127C52}"/>
              </a:ext>
            </a:extLst>
          </p:cNvPr>
          <p:cNvSpPr/>
          <p:nvPr/>
        </p:nvSpPr>
        <p:spPr>
          <a:xfrm>
            <a:off x="1394537" y="2386803"/>
            <a:ext cx="1419225" cy="4191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>
                <a:latin typeface="맑은 고딕"/>
                <a:ea typeface="맑은 고딕"/>
              </a:rPr>
              <a:t>카테고리 관리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E929685B-1D4E-4B07-96C2-023D2EFA61DE}"/>
              </a:ext>
            </a:extLst>
          </p:cNvPr>
          <p:cNvSpPr/>
          <p:nvPr/>
        </p:nvSpPr>
        <p:spPr>
          <a:xfrm>
            <a:off x="4283493" y="2386803"/>
            <a:ext cx="1419225" cy="4191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400" err="1">
                <a:latin typeface="맑은 고딕"/>
                <a:ea typeface="맑은 고딕"/>
              </a:rPr>
              <a:t>회원</a:t>
            </a:r>
            <a:r>
              <a:rPr lang="en-US" altLang="ko-KR" sz="1400">
                <a:latin typeface="맑은 고딕"/>
                <a:ea typeface="맑은 고딕"/>
              </a:rPr>
              <a:t> </a:t>
            </a:r>
            <a:r>
              <a:rPr lang="en-US" altLang="ko-KR" sz="1400" err="1">
                <a:latin typeface="맑은 고딕"/>
                <a:ea typeface="맑은 고딕"/>
              </a:rPr>
              <a:t>관리</a:t>
            </a: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93E1D3EB-19C6-463C-BA3C-70912EBA3AA7}"/>
              </a:ext>
            </a:extLst>
          </p:cNvPr>
          <p:cNvSpPr/>
          <p:nvPr/>
        </p:nvSpPr>
        <p:spPr>
          <a:xfrm>
            <a:off x="5386388" y="1179113"/>
            <a:ext cx="1419225" cy="4191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>
                <a:latin typeface="맑은 고딕"/>
                <a:ea typeface="맑은 고딕"/>
              </a:rPr>
              <a:t>관리자 모드</a:t>
            </a:r>
            <a:endParaRPr lang="ko-KR" altLang="en-US" sz="1400">
              <a:solidFill>
                <a:prstClr val="white"/>
              </a:solidFill>
              <a:latin typeface="맑은 고딕"/>
              <a:ea typeface="맑은 고딕"/>
            </a:endParaRPr>
          </a:p>
        </p:txBody>
      </p:sp>
      <p:cxnSp>
        <p:nvCxnSpPr>
          <p:cNvPr id="104" name="Straight Arrow Connector 103">
            <a:extLst>
              <a:ext uri="{FF2B5EF4-FFF2-40B4-BE49-F238E27FC236}">
                <a16:creationId xmlns:a16="http://schemas.microsoft.com/office/drawing/2014/main" id="{9711ED3C-D7AD-42D4-9687-292E16267E75}"/>
              </a:ext>
            </a:extLst>
          </p:cNvPr>
          <p:cNvCxnSpPr>
            <a:cxnSpLocks/>
            <a:stCxn id="92" idx="2"/>
          </p:cNvCxnSpPr>
          <p:nvPr/>
        </p:nvCxnSpPr>
        <p:spPr>
          <a:xfrm>
            <a:off x="14986234" y="7579510"/>
            <a:ext cx="2808" cy="3533889"/>
          </a:xfrm>
          <a:prstGeom prst="straightConnector1">
            <a:avLst/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 31">
            <a:extLst>
              <a:ext uri="{FF2B5EF4-FFF2-40B4-BE49-F238E27FC236}">
                <a16:creationId xmlns:a16="http://schemas.microsoft.com/office/drawing/2014/main" id="{88B1C63E-DD29-46F4-9946-C576A6863C0C}"/>
              </a:ext>
            </a:extLst>
          </p:cNvPr>
          <p:cNvSpPr/>
          <p:nvPr/>
        </p:nvSpPr>
        <p:spPr>
          <a:xfrm>
            <a:off x="7380247" y="2396829"/>
            <a:ext cx="1419225" cy="4191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>
                <a:latin typeface="맑은 고딕"/>
                <a:ea typeface="맑은 고딕"/>
              </a:rPr>
              <a:t>결제 관리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40BE0498-34EB-4087-A183-7CA78F38DDB1}"/>
              </a:ext>
            </a:extLst>
          </p:cNvPr>
          <p:cNvCxnSpPr>
            <a:cxnSpLocks/>
          </p:cNvCxnSpPr>
          <p:nvPr/>
        </p:nvCxnSpPr>
        <p:spPr>
          <a:xfrm>
            <a:off x="0" y="742523"/>
            <a:ext cx="7442200" cy="0"/>
          </a:xfrm>
          <a:prstGeom prst="line">
            <a:avLst/>
          </a:prstGeom>
          <a:ln>
            <a:solidFill>
              <a:srgbClr val="2E1437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7B48157D-FC34-4A86-AE19-1B1AF8FD2760}"/>
              </a:ext>
            </a:extLst>
          </p:cNvPr>
          <p:cNvSpPr txBox="1"/>
          <p:nvPr/>
        </p:nvSpPr>
        <p:spPr>
          <a:xfrm>
            <a:off x="838200" y="327025"/>
            <a:ext cx="10515600" cy="830997"/>
          </a:xfrm>
          <a:prstGeom prst="rect">
            <a:avLst/>
          </a:prstGeom>
          <a:noFill/>
          <a:effectLst/>
        </p:spPr>
        <p:txBody>
          <a:bodyPr wrap="square" lIns="0" tIns="0" rIns="0" bIns="0" rtlCol="0" anchor="t">
            <a:spAutoFit/>
          </a:bodyPr>
          <a:lstStyle/>
          <a:p>
            <a:pPr algn="r"/>
            <a:r>
              <a:rPr lang="ko-KR" altLang="en-US" sz="5400" b="1" err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Segoe UI Black" panose="020B0A02040204020203" pitchFamily="34" charset="0"/>
                <a:cs typeface="Segoe UI" panose="020B0502040204020203" pitchFamily="34" charset="0"/>
              </a:rPr>
              <a:t>Menu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2509D16D-F849-458C-B627-5F42CE3E7332}"/>
              </a:ext>
            </a:extLst>
          </p:cNvPr>
          <p:cNvSpPr/>
          <p:nvPr/>
        </p:nvSpPr>
        <p:spPr>
          <a:xfrm>
            <a:off x="1395914" y="3099634"/>
            <a:ext cx="1419225" cy="4191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>
                <a:latin typeface="맑은 고딕"/>
                <a:ea typeface="맑은 고딕"/>
              </a:rPr>
              <a:t>대분류 관리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8CEE3ED9-043A-4D1B-9BE7-65CD9165EFCD}"/>
              </a:ext>
            </a:extLst>
          </p:cNvPr>
          <p:cNvSpPr/>
          <p:nvPr/>
        </p:nvSpPr>
        <p:spPr>
          <a:xfrm>
            <a:off x="7381624" y="3109662"/>
            <a:ext cx="1419225" cy="4191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>
                <a:latin typeface="Malgun Gothic"/>
                <a:ea typeface="Malgun Gothic"/>
              </a:rPr>
              <a:t>강의결제 관리</a:t>
            </a:r>
            <a:endParaRPr lang="ko-KR" sz="1400">
              <a:latin typeface="Malgun Gothic"/>
              <a:ea typeface="Malgun Gothic"/>
              <a:cs typeface="+mn-l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50C5A510-07CC-4E1A-93F0-C14710E70409}"/>
              </a:ext>
            </a:extLst>
          </p:cNvPr>
          <p:cNvSpPr/>
          <p:nvPr/>
        </p:nvSpPr>
        <p:spPr>
          <a:xfrm>
            <a:off x="4273466" y="3841583"/>
            <a:ext cx="1419225" cy="4191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>
                <a:latin typeface="맑은 고딕"/>
                <a:ea typeface="맑은 고딕"/>
              </a:rPr>
              <a:t>전체 회원 정보</a:t>
            </a:r>
          </a:p>
        </p:txBody>
      </p: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BF22D109-F133-4912-83E3-15FE331E621B}"/>
              </a:ext>
            </a:extLst>
          </p:cNvPr>
          <p:cNvCxnSpPr>
            <a:cxnSpLocks/>
          </p:cNvCxnSpPr>
          <p:nvPr/>
        </p:nvCxnSpPr>
        <p:spPr>
          <a:xfrm>
            <a:off x="2105527" y="1936700"/>
            <a:ext cx="0" cy="447695"/>
          </a:xfrm>
          <a:prstGeom prst="straightConnector1">
            <a:avLst/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E13CC869-9621-4874-AF11-159DEFFD6588}"/>
              </a:ext>
            </a:extLst>
          </p:cNvPr>
          <p:cNvCxnSpPr>
            <a:cxnSpLocks/>
          </p:cNvCxnSpPr>
          <p:nvPr/>
        </p:nvCxnSpPr>
        <p:spPr>
          <a:xfrm>
            <a:off x="10327105" y="1955149"/>
            <a:ext cx="0" cy="457723"/>
          </a:xfrm>
          <a:prstGeom prst="straightConnector1">
            <a:avLst/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201EC397-7D0C-456C-BF57-9906B5342863}"/>
              </a:ext>
            </a:extLst>
          </p:cNvPr>
          <p:cNvCxnSpPr/>
          <p:nvPr/>
        </p:nvCxnSpPr>
        <p:spPr>
          <a:xfrm>
            <a:off x="1303118" y="1951488"/>
            <a:ext cx="9854263" cy="5482"/>
          </a:xfrm>
          <a:prstGeom prst="straightConnector1">
            <a:avLst/>
          </a:prstGeom>
          <a:ln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tangle 53">
            <a:extLst>
              <a:ext uri="{FF2B5EF4-FFF2-40B4-BE49-F238E27FC236}">
                <a16:creationId xmlns:a16="http://schemas.microsoft.com/office/drawing/2014/main" id="{9799D764-99C2-4223-B83F-942204AF5D1D}"/>
              </a:ext>
            </a:extLst>
          </p:cNvPr>
          <p:cNvSpPr/>
          <p:nvPr/>
        </p:nvSpPr>
        <p:spPr>
          <a:xfrm>
            <a:off x="4273466" y="3119688"/>
            <a:ext cx="1419225" cy="4191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>
                <a:latin typeface="맑은 고딕"/>
                <a:ea typeface="맑은 고딕"/>
              </a:rPr>
              <a:t>승인 신청 관리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BFB753DC-4491-4104-9646-E212A1C5E6CE}"/>
              </a:ext>
            </a:extLst>
          </p:cNvPr>
          <p:cNvSpPr/>
          <p:nvPr/>
        </p:nvSpPr>
        <p:spPr>
          <a:xfrm>
            <a:off x="4263438" y="4563476"/>
            <a:ext cx="1419225" cy="4191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>
                <a:latin typeface="맑은 고딕"/>
                <a:ea typeface="맑은 고딕"/>
              </a:rPr>
              <a:t>회원 권한 관리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80DFD0AF-C7EE-4849-8C54-8D8ED6DEC742}"/>
              </a:ext>
            </a:extLst>
          </p:cNvPr>
          <p:cNvSpPr/>
          <p:nvPr/>
        </p:nvSpPr>
        <p:spPr>
          <a:xfrm>
            <a:off x="9616114" y="2406855"/>
            <a:ext cx="1419225" cy="4191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>
                <a:latin typeface="맑은 고딕"/>
                <a:ea typeface="맑은 고딕"/>
              </a:rPr>
              <a:t>통계 관리</a:t>
            </a: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6FACA356-FC31-4953-B5D0-29229F6AAFE3}"/>
              </a:ext>
            </a:extLst>
          </p:cNvPr>
          <p:cNvCxnSpPr>
            <a:cxnSpLocks/>
          </p:cNvCxnSpPr>
          <p:nvPr/>
        </p:nvCxnSpPr>
        <p:spPr>
          <a:xfrm>
            <a:off x="4993106" y="1946726"/>
            <a:ext cx="0" cy="447695"/>
          </a:xfrm>
          <a:prstGeom prst="straightConnector1">
            <a:avLst/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0EC79C06-EBBF-4334-8CCF-C759C80F6AA7}"/>
              </a:ext>
            </a:extLst>
          </p:cNvPr>
          <p:cNvCxnSpPr>
            <a:cxnSpLocks/>
          </p:cNvCxnSpPr>
          <p:nvPr/>
        </p:nvCxnSpPr>
        <p:spPr>
          <a:xfrm>
            <a:off x="8091237" y="1956752"/>
            <a:ext cx="0" cy="447695"/>
          </a:xfrm>
          <a:prstGeom prst="straightConnector1">
            <a:avLst/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2719731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Rectangle 115">
            <a:extLst>
              <a:ext uri="{FF2B5EF4-FFF2-40B4-BE49-F238E27FC236}">
                <a16:creationId xmlns:a16="http://schemas.microsoft.com/office/drawing/2014/main" id="{B497CCB8-E9A1-48E3-9F0F-46440E87C368}"/>
              </a:ext>
            </a:extLst>
          </p:cNvPr>
          <p:cNvSpPr/>
          <p:nvPr/>
        </p:nvSpPr>
        <p:spPr>
          <a:xfrm>
            <a:off x="8558373" y="3636376"/>
            <a:ext cx="3000564" cy="338554"/>
          </a:xfrm>
          <a:prstGeom prst="rect">
            <a:avLst/>
          </a:prstGeom>
        </p:spPr>
        <p:txBody>
          <a:bodyPr wrap="square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ko-KR" altLang="en-US" sz="1600" b="1" err="1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김향이</a:t>
            </a:r>
            <a:endParaRPr lang="en-US" sz="1400" err="1">
              <a:solidFill>
                <a:schemeClr val="tx1">
                  <a:lumMod val="75000"/>
                  <a:lumOff val="25000"/>
                </a:schemeClr>
              </a:solidFill>
              <a:latin typeface="Malgun Gothic"/>
              <a:ea typeface="Malgun Gothic"/>
            </a:endParaRPr>
          </a:p>
        </p:txBody>
      </p:sp>
      <p:sp>
        <p:nvSpPr>
          <p:cNvPr id="82" name="Oval 81">
            <a:extLst>
              <a:ext uri="{FF2B5EF4-FFF2-40B4-BE49-F238E27FC236}">
                <a16:creationId xmlns:a16="http://schemas.microsoft.com/office/drawing/2014/main" id="{692C792F-CC81-4227-AA4D-1B1F9CA91FB8}"/>
              </a:ext>
            </a:extLst>
          </p:cNvPr>
          <p:cNvSpPr/>
          <p:nvPr/>
        </p:nvSpPr>
        <p:spPr>
          <a:xfrm>
            <a:off x="6955970" y="2476045"/>
            <a:ext cx="822780" cy="822780"/>
          </a:xfrm>
          <a:prstGeom prst="ellipse">
            <a:avLst/>
          </a:prstGeom>
          <a:solidFill>
            <a:schemeClr val="bg2">
              <a:lumMod val="50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3" name="Oval 82">
            <a:extLst>
              <a:ext uri="{FF2B5EF4-FFF2-40B4-BE49-F238E27FC236}">
                <a16:creationId xmlns:a16="http://schemas.microsoft.com/office/drawing/2014/main" id="{0EC2FEF2-B841-4B4C-827D-448CC96CAC56}"/>
              </a:ext>
            </a:extLst>
          </p:cNvPr>
          <p:cNvSpPr/>
          <p:nvPr/>
        </p:nvSpPr>
        <p:spPr>
          <a:xfrm>
            <a:off x="6955970" y="5221967"/>
            <a:ext cx="822780" cy="822780"/>
          </a:xfrm>
          <a:prstGeom prst="ellipse">
            <a:avLst/>
          </a:prstGeom>
          <a:solidFill>
            <a:schemeClr val="bg2">
              <a:lumMod val="50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4" name="Oval 83">
            <a:extLst>
              <a:ext uri="{FF2B5EF4-FFF2-40B4-BE49-F238E27FC236}">
                <a16:creationId xmlns:a16="http://schemas.microsoft.com/office/drawing/2014/main" id="{0C757359-D767-4BCB-A1E0-F77640856F3C}"/>
              </a:ext>
            </a:extLst>
          </p:cNvPr>
          <p:cNvSpPr/>
          <p:nvPr/>
        </p:nvSpPr>
        <p:spPr>
          <a:xfrm>
            <a:off x="4413251" y="5221967"/>
            <a:ext cx="822780" cy="822780"/>
          </a:xfrm>
          <a:prstGeom prst="ellipse">
            <a:avLst/>
          </a:prstGeom>
          <a:solidFill>
            <a:schemeClr val="bg2">
              <a:lumMod val="50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5" name="Oval 84">
            <a:extLst>
              <a:ext uri="{FF2B5EF4-FFF2-40B4-BE49-F238E27FC236}">
                <a16:creationId xmlns:a16="http://schemas.microsoft.com/office/drawing/2014/main" id="{9FD3C3EE-7FBA-4B5A-B188-83E45DF333F1}"/>
              </a:ext>
            </a:extLst>
          </p:cNvPr>
          <p:cNvSpPr/>
          <p:nvPr/>
        </p:nvSpPr>
        <p:spPr>
          <a:xfrm>
            <a:off x="7599135" y="4306659"/>
            <a:ext cx="822780" cy="822780"/>
          </a:xfrm>
          <a:prstGeom prst="ellipse">
            <a:avLst/>
          </a:prstGeom>
          <a:solidFill>
            <a:schemeClr val="bg2">
              <a:lumMod val="50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6" name="Oval 85">
            <a:extLst>
              <a:ext uri="{FF2B5EF4-FFF2-40B4-BE49-F238E27FC236}">
                <a16:creationId xmlns:a16="http://schemas.microsoft.com/office/drawing/2014/main" id="{25BF5076-0554-4E6D-B18D-DDC48389B7F6}"/>
              </a:ext>
            </a:extLst>
          </p:cNvPr>
          <p:cNvSpPr/>
          <p:nvPr/>
        </p:nvSpPr>
        <p:spPr>
          <a:xfrm>
            <a:off x="3770085" y="4306659"/>
            <a:ext cx="822780" cy="822780"/>
          </a:xfrm>
          <a:prstGeom prst="ellipse">
            <a:avLst/>
          </a:prstGeom>
          <a:solidFill>
            <a:schemeClr val="bg2">
              <a:lumMod val="50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8" name="Oval 87">
            <a:extLst>
              <a:ext uri="{FF2B5EF4-FFF2-40B4-BE49-F238E27FC236}">
                <a16:creationId xmlns:a16="http://schemas.microsoft.com/office/drawing/2014/main" id="{EA2E6F60-ABE7-406C-AFB5-6673E55C1242}"/>
              </a:ext>
            </a:extLst>
          </p:cNvPr>
          <p:cNvSpPr/>
          <p:nvPr/>
        </p:nvSpPr>
        <p:spPr>
          <a:xfrm>
            <a:off x="7599135" y="3388712"/>
            <a:ext cx="822780" cy="822780"/>
          </a:xfrm>
          <a:prstGeom prst="ellipse">
            <a:avLst/>
          </a:prstGeom>
          <a:solidFill>
            <a:schemeClr val="bg2">
              <a:lumMod val="50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9" name="Oval 88">
            <a:extLst>
              <a:ext uri="{FF2B5EF4-FFF2-40B4-BE49-F238E27FC236}">
                <a16:creationId xmlns:a16="http://schemas.microsoft.com/office/drawing/2014/main" id="{65A1CF35-DD44-4C30-8F42-07B947C079DE}"/>
              </a:ext>
            </a:extLst>
          </p:cNvPr>
          <p:cNvSpPr/>
          <p:nvPr/>
        </p:nvSpPr>
        <p:spPr>
          <a:xfrm>
            <a:off x="3770085" y="3388712"/>
            <a:ext cx="822780" cy="822780"/>
          </a:xfrm>
          <a:prstGeom prst="ellipse">
            <a:avLst/>
          </a:prstGeom>
          <a:solidFill>
            <a:schemeClr val="bg2">
              <a:lumMod val="50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1" name="Oval 80">
            <a:extLst>
              <a:ext uri="{FF2B5EF4-FFF2-40B4-BE49-F238E27FC236}">
                <a16:creationId xmlns:a16="http://schemas.microsoft.com/office/drawing/2014/main" id="{5C3BB5C5-3E72-486D-BD22-BD3D717C46CD}"/>
              </a:ext>
            </a:extLst>
          </p:cNvPr>
          <p:cNvSpPr/>
          <p:nvPr/>
        </p:nvSpPr>
        <p:spPr>
          <a:xfrm>
            <a:off x="4413251" y="2476045"/>
            <a:ext cx="822780" cy="822780"/>
          </a:xfrm>
          <a:prstGeom prst="ellipse">
            <a:avLst/>
          </a:prstGeom>
          <a:solidFill>
            <a:schemeClr val="bg2">
              <a:lumMod val="50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Rectangle: Top Corners Rounded 67">
            <a:extLst>
              <a:ext uri="{FF2B5EF4-FFF2-40B4-BE49-F238E27FC236}">
                <a16:creationId xmlns:a16="http://schemas.microsoft.com/office/drawing/2014/main" id="{0D85C21C-2390-45F2-9177-A06700566D38}"/>
              </a:ext>
            </a:extLst>
          </p:cNvPr>
          <p:cNvSpPr/>
          <p:nvPr/>
        </p:nvSpPr>
        <p:spPr>
          <a:xfrm>
            <a:off x="968376" y="1438275"/>
            <a:ext cx="4514850" cy="98424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: Top Corners Rounded 14">
            <a:extLst>
              <a:ext uri="{FF2B5EF4-FFF2-40B4-BE49-F238E27FC236}">
                <a16:creationId xmlns:a16="http://schemas.microsoft.com/office/drawing/2014/main" id="{84A8C99B-B8E2-4493-9548-F990A45B775F}"/>
              </a:ext>
            </a:extLst>
          </p:cNvPr>
          <p:cNvSpPr/>
          <p:nvPr/>
        </p:nvSpPr>
        <p:spPr>
          <a:xfrm>
            <a:off x="6708775" y="1438275"/>
            <a:ext cx="4514850" cy="98424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18880C7-EB40-44E0-8E8F-4C9309F5F632}"/>
              </a:ext>
            </a:extLst>
          </p:cNvPr>
          <p:cNvSpPr/>
          <p:nvPr/>
        </p:nvSpPr>
        <p:spPr>
          <a:xfrm>
            <a:off x="469276" y="1536700"/>
            <a:ext cx="11253448" cy="36512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Date Placeholder 62">
            <a:extLst>
              <a:ext uri="{FF2B5EF4-FFF2-40B4-BE49-F238E27FC236}">
                <a16:creationId xmlns:a16="http://schemas.microsoft.com/office/drawing/2014/main" id="{77E8CDB2-0291-409B-A560-ECC0BAD569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61EDB9-283E-45C0-AC04-1EF28884500D}" type="datetime1">
              <a:rPr lang="en-US" smtClean="0"/>
              <a:t>7/3/2019</a:t>
            </a:fld>
            <a:endParaRPr lang="en-US"/>
          </a:p>
        </p:txBody>
      </p:sp>
      <p:sp>
        <p:nvSpPr>
          <p:cNvPr id="64" name="Slide Number Placeholder 63">
            <a:extLst>
              <a:ext uri="{FF2B5EF4-FFF2-40B4-BE49-F238E27FC236}">
                <a16:creationId xmlns:a16="http://schemas.microsoft.com/office/drawing/2014/main" id="{25886065-57E9-4A13-980D-FB51F031B3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8A3C94-99AD-4370-9394-C6F447157082}" type="slidenum">
              <a:rPr lang="en-US" smtClean="0"/>
              <a:t>2</a:t>
            </a:fld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359959A9-7089-4810-944F-2B841F6DD486}"/>
              </a:ext>
            </a:extLst>
          </p:cNvPr>
          <p:cNvSpPr/>
          <p:nvPr/>
        </p:nvSpPr>
        <p:spPr>
          <a:xfrm>
            <a:off x="1030287" y="1438275"/>
            <a:ext cx="4384676" cy="56197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2000">
                <a:ea typeface="바탕"/>
              </a:rPr>
              <a:t>WWW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CD99649C-086F-4537-8C72-A29547D194D9}"/>
              </a:ext>
            </a:extLst>
          </p:cNvPr>
          <p:cNvSpPr/>
          <p:nvPr/>
        </p:nvSpPr>
        <p:spPr>
          <a:xfrm>
            <a:off x="6773862" y="1438275"/>
            <a:ext cx="4384676" cy="56197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2000">
                <a:latin typeface="Malgun Gothic"/>
                <a:ea typeface="Malgun Gothic"/>
              </a:rPr>
              <a:t>팀원</a:t>
            </a:r>
            <a:endParaRPr lang="en-US" sz="2000">
              <a:latin typeface="Malgun Gothic"/>
              <a:ea typeface="Malgun Gothic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A37A1D01-2D41-4354-8B59-E03990FCFB3C}"/>
              </a:ext>
            </a:extLst>
          </p:cNvPr>
          <p:cNvSpPr/>
          <p:nvPr/>
        </p:nvSpPr>
        <p:spPr>
          <a:xfrm>
            <a:off x="4181475" y="2345871"/>
            <a:ext cx="3829050" cy="3829050"/>
          </a:xfrm>
          <a:prstGeom prst="ellipse">
            <a:avLst/>
          </a:prstGeom>
          <a:noFill/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02DAC910-A0C7-4BEF-927B-B096BB7E759E}"/>
              </a:ext>
            </a:extLst>
          </p:cNvPr>
          <p:cNvSpPr/>
          <p:nvPr/>
        </p:nvSpPr>
        <p:spPr>
          <a:xfrm>
            <a:off x="3890282" y="3511549"/>
            <a:ext cx="582386" cy="582386"/>
          </a:xfrm>
          <a:prstGeom prst="ellipse">
            <a:avLst/>
          </a:prstGeom>
          <a:solidFill>
            <a:srgbClr val="AF5F6D"/>
          </a:solidFill>
          <a:ln w="28575"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A6D83250-FEF7-47D0-825E-8D8ACAE99529}"/>
              </a:ext>
            </a:extLst>
          </p:cNvPr>
          <p:cNvSpPr/>
          <p:nvPr/>
        </p:nvSpPr>
        <p:spPr>
          <a:xfrm>
            <a:off x="7719332" y="3511549"/>
            <a:ext cx="582386" cy="582386"/>
          </a:xfrm>
          <a:prstGeom prst="ellipse">
            <a:avLst/>
          </a:prstGeom>
          <a:solidFill>
            <a:srgbClr val="EB6B56"/>
          </a:solidFill>
          <a:ln w="28575"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Oval 60">
            <a:extLst>
              <a:ext uri="{FF2B5EF4-FFF2-40B4-BE49-F238E27FC236}">
                <a16:creationId xmlns:a16="http://schemas.microsoft.com/office/drawing/2014/main" id="{1AC4C531-AE90-4026-B0D7-22E44BD18CFF}"/>
              </a:ext>
            </a:extLst>
          </p:cNvPr>
          <p:cNvSpPr/>
          <p:nvPr/>
        </p:nvSpPr>
        <p:spPr>
          <a:xfrm>
            <a:off x="3890282" y="4426856"/>
            <a:ext cx="582386" cy="582386"/>
          </a:xfrm>
          <a:prstGeom prst="ellipse">
            <a:avLst/>
          </a:prstGeom>
          <a:solidFill>
            <a:srgbClr val="AF5F6D"/>
          </a:solidFill>
          <a:ln w="28575"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Oval 61">
            <a:extLst>
              <a:ext uri="{FF2B5EF4-FFF2-40B4-BE49-F238E27FC236}">
                <a16:creationId xmlns:a16="http://schemas.microsoft.com/office/drawing/2014/main" id="{18D30738-579A-4967-BED8-B041FD59974D}"/>
              </a:ext>
            </a:extLst>
          </p:cNvPr>
          <p:cNvSpPr/>
          <p:nvPr/>
        </p:nvSpPr>
        <p:spPr>
          <a:xfrm>
            <a:off x="7719332" y="4426856"/>
            <a:ext cx="582386" cy="582386"/>
          </a:xfrm>
          <a:prstGeom prst="ellipse">
            <a:avLst/>
          </a:prstGeom>
          <a:solidFill>
            <a:srgbClr val="EB6B56"/>
          </a:solidFill>
          <a:ln w="28575"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AACDCBC8-DD53-402A-8378-3C5810D772BF}"/>
              </a:ext>
            </a:extLst>
          </p:cNvPr>
          <p:cNvSpPr/>
          <p:nvPr/>
        </p:nvSpPr>
        <p:spPr>
          <a:xfrm>
            <a:off x="4533448" y="2596242"/>
            <a:ext cx="582386" cy="582386"/>
          </a:xfrm>
          <a:prstGeom prst="ellipse">
            <a:avLst/>
          </a:prstGeom>
          <a:solidFill>
            <a:srgbClr val="AF5F6D"/>
          </a:solidFill>
          <a:ln w="28575"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954C43C7-1891-472F-A1DB-C02BFF33450D}"/>
              </a:ext>
            </a:extLst>
          </p:cNvPr>
          <p:cNvSpPr/>
          <p:nvPr/>
        </p:nvSpPr>
        <p:spPr>
          <a:xfrm>
            <a:off x="7076167" y="2596242"/>
            <a:ext cx="582386" cy="582386"/>
          </a:xfrm>
          <a:prstGeom prst="ellipse">
            <a:avLst/>
          </a:prstGeom>
          <a:solidFill>
            <a:srgbClr val="EB6B56"/>
          </a:solidFill>
          <a:ln w="28575"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5" name="Oval 64">
            <a:extLst>
              <a:ext uri="{FF2B5EF4-FFF2-40B4-BE49-F238E27FC236}">
                <a16:creationId xmlns:a16="http://schemas.microsoft.com/office/drawing/2014/main" id="{5CEF9737-12D7-4AD5-B110-2F5BD73D8990}"/>
              </a:ext>
            </a:extLst>
          </p:cNvPr>
          <p:cNvSpPr/>
          <p:nvPr/>
        </p:nvSpPr>
        <p:spPr>
          <a:xfrm>
            <a:off x="4533448" y="5342164"/>
            <a:ext cx="582386" cy="582386"/>
          </a:xfrm>
          <a:prstGeom prst="ellipse">
            <a:avLst/>
          </a:prstGeom>
          <a:solidFill>
            <a:srgbClr val="AF5F6D"/>
          </a:solidFill>
          <a:ln w="28575"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6" name="Oval 65">
            <a:extLst>
              <a:ext uri="{FF2B5EF4-FFF2-40B4-BE49-F238E27FC236}">
                <a16:creationId xmlns:a16="http://schemas.microsoft.com/office/drawing/2014/main" id="{8E3703C8-CA7E-4903-9263-F18ACF46C135}"/>
              </a:ext>
            </a:extLst>
          </p:cNvPr>
          <p:cNvSpPr/>
          <p:nvPr/>
        </p:nvSpPr>
        <p:spPr>
          <a:xfrm>
            <a:off x="7076167" y="5342164"/>
            <a:ext cx="582386" cy="582386"/>
          </a:xfrm>
          <a:prstGeom prst="ellipse">
            <a:avLst/>
          </a:prstGeom>
          <a:solidFill>
            <a:srgbClr val="EB6B56"/>
          </a:solidFill>
          <a:ln w="28575"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9" name="Freeform 1675">
            <a:extLst>
              <a:ext uri="{FF2B5EF4-FFF2-40B4-BE49-F238E27FC236}">
                <a16:creationId xmlns:a16="http://schemas.microsoft.com/office/drawing/2014/main" id="{B0C1D16D-FFF6-4671-B2D0-5461FA31D2E3}"/>
              </a:ext>
            </a:extLst>
          </p:cNvPr>
          <p:cNvSpPr>
            <a:spLocks/>
          </p:cNvSpPr>
          <p:nvPr/>
        </p:nvSpPr>
        <p:spPr bwMode="auto">
          <a:xfrm>
            <a:off x="4686167" y="2769732"/>
            <a:ext cx="276950" cy="235406"/>
          </a:xfrm>
          <a:custGeom>
            <a:avLst/>
            <a:gdLst>
              <a:gd name="T0" fmla="*/ 716 w 719"/>
              <a:gd name="T1" fmla="*/ 109 h 611"/>
              <a:gd name="T2" fmla="*/ 610 w 719"/>
              <a:gd name="T3" fmla="*/ 3 h 611"/>
              <a:gd name="T4" fmla="*/ 607 w 719"/>
              <a:gd name="T5" fmla="*/ 1 h 611"/>
              <a:gd name="T6" fmla="*/ 601 w 719"/>
              <a:gd name="T7" fmla="*/ 0 h 611"/>
              <a:gd name="T8" fmla="*/ 597 w 719"/>
              <a:gd name="T9" fmla="*/ 1 h 611"/>
              <a:gd name="T10" fmla="*/ 593 w 719"/>
              <a:gd name="T11" fmla="*/ 3 h 611"/>
              <a:gd name="T12" fmla="*/ 225 w 719"/>
              <a:gd name="T13" fmla="*/ 372 h 611"/>
              <a:gd name="T14" fmla="*/ 126 w 719"/>
              <a:gd name="T15" fmla="*/ 274 h 611"/>
              <a:gd name="T16" fmla="*/ 123 w 719"/>
              <a:gd name="T17" fmla="*/ 272 h 611"/>
              <a:gd name="T18" fmla="*/ 119 w 719"/>
              <a:gd name="T19" fmla="*/ 271 h 611"/>
              <a:gd name="T20" fmla="*/ 114 w 719"/>
              <a:gd name="T21" fmla="*/ 272 h 611"/>
              <a:gd name="T22" fmla="*/ 110 w 719"/>
              <a:gd name="T23" fmla="*/ 274 h 611"/>
              <a:gd name="T24" fmla="*/ 4 w 719"/>
              <a:gd name="T25" fmla="*/ 380 h 611"/>
              <a:gd name="T26" fmla="*/ 2 w 719"/>
              <a:gd name="T27" fmla="*/ 385 h 611"/>
              <a:gd name="T28" fmla="*/ 0 w 719"/>
              <a:gd name="T29" fmla="*/ 389 h 611"/>
              <a:gd name="T30" fmla="*/ 2 w 719"/>
              <a:gd name="T31" fmla="*/ 394 h 611"/>
              <a:gd name="T32" fmla="*/ 4 w 719"/>
              <a:gd name="T33" fmla="*/ 397 h 611"/>
              <a:gd name="T34" fmla="*/ 216 w 719"/>
              <a:gd name="T35" fmla="*/ 608 h 611"/>
              <a:gd name="T36" fmla="*/ 219 w 719"/>
              <a:gd name="T37" fmla="*/ 610 h 611"/>
              <a:gd name="T38" fmla="*/ 225 w 719"/>
              <a:gd name="T39" fmla="*/ 611 h 611"/>
              <a:gd name="T40" fmla="*/ 229 w 719"/>
              <a:gd name="T41" fmla="*/ 610 h 611"/>
              <a:gd name="T42" fmla="*/ 232 w 719"/>
              <a:gd name="T43" fmla="*/ 608 h 611"/>
              <a:gd name="T44" fmla="*/ 716 w 719"/>
              <a:gd name="T45" fmla="*/ 125 h 611"/>
              <a:gd name="T46" fmla="*/ 718 w 719"/>
              <a:gd name="T47" fmla="*/ 122 h 611"/>
              <a:gd name="T48" fmla="*/ 719 w 719"/>
              <a:gd name="T49" fmla="*/ 117 h 611"/>
              <a:gd name="T50" fmla="*/ 718 w 719"/>
              <a:gd name="T51" fmla="*/ 112 h 611"/>
              <a:gd name="T52" fmla="*/ 716 w 719"/>
              <a:gd name="T53" fmla="*/ 109 h 6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719" h="611">
                <a:moveTo>
                  <a:pt x="716" y="109"/>
                </a:moveTo>
                <a:lnTo>
                  <a:pt x="610" y="3"/>
                </a:lnTo>
                <a:lnTo>
                  <a:pt x="607" y="1"/>
                </a:lnTo>
                <a:lnTo>
                  <a:pt x="601" y="0"/>
                </a:lnTo>
                <a:lnTo>
                  <a:pt x="597" y="1"/>
                </a:lnTo>
                <a:lnTo>
                  <a:pt x="593" y="3"/>
                </a:lnTo>
                <a:lnTo>
                  <a:pt x="225" y="372"/>
                </a:lnTo>
                <a:lnTo>
                  <a:pt x="126" y="274"/>
                </a:lnTo>
                <a:lnTo>
                  <a:pt x="123" y="272"/>
                </a:lnTo>
                <a:lnTo>
                  <a:pt x="119" y="271"/>
                </a:lnTo>
                <a:lnTo>
                  <a:pt x="114" y="272"/>
                </a:lnTo>
                <a:lnTo>
                  <a:pt x="110" y="274"/>
                </a:lnTo>
                <a:lnTo>
                  <a:pt x="4" y="380"/>
                </a:lnTo>
                <a:lnTo>
                  <a:pt x="2" y="385"/>
                </a:lnTo>
                <a:lnTo>
                  <a:pt x="0" y="389"/>
                </a:lnTo>
                <a:lnTo>
                  <a:pt x="2" y="394"/>
                </a:lnTo>
                <a:lnTo>
                  <a:pt x="4" y="397"/>
                </a:lnTo>
                <a:lnTo>
                  <a:pt x="216" y="608"/>
                </a:lnTo>
                <a:lnTo>
                  <a:pt x="219" y="610"/>
                </a:lnTo>
                <a:lnTo>
                  <a:pt x="225" y="611"/>
                </a:lnTo>
                <a:lnTo>
                  <a:pt x="229" y="610"/>
                </a:lnTo>
                <a:lnTo>
                  <a:pt x="232" y="608"/>
                </a:lnTo>
                <a:lnTo>
                  <a:pt x="716" y="125"/>
                </a:lnTo>
                <a:lnTo>
                  <a:pt x="718" y="122"/>
                </a:lnTo>
                <a:lnTo>
                  <a:pt x="719" y="117"/>
                </a:lnTo>
                <a:lnTo>
                  <a:pt x="718" y="112"/>
                </a:lnTo>
                <a:lnTo>
                  <a:pt x="716" y="10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" name="Freeform 1675">
            <a:extLst>
              <a:ext uri="{FF2B5EF4-FFF2-40B4-BE49-F238E27FC236}">
                <a16:creationId xmlns:a16="http://schemas.microsoft.com/office/drawing/2014/main" id="{CEF275CC-0E80-4CE9-867D-8830D40B9226}"/>
              </a:ext>
            </a:extLst>
          </p:cNvPr>
          <p:cNvSpPr>
            <a:spLocks/>
          </p:cNvSpPr>
          <p:nvPr/>
        </p:nvSpPr>
        <p:spPr bwMode="auto">
          <a:xfrm>
            <a:off x="7228885" y="2769732"/>
            <a:ext cx="276950" cy="235406"/>
          </a:xfrm>
          <a:custGeom>
            <a:avLst/>
            <a:gdLst>
              <a:gd name="T0" fmla="*/ 716 w 719"/>
              <a:gd name="T1" fmla="*/ 109 h 611"/>
              <a:gd name="T2" fmla="*/ 610 w 719"/>
              <a:gd name="T3" fmla="*/ 3 h 611"/>
              <a:gd name="T4" fmla="*/ 607 w 719"/>
              <a:gd name="T5" fmla="*/ 1 h 611"/>
              <a:gd name="T6" fmla="*/ 601 w 719"/>
              <a:gd name="T7" fmla="*/ 0 h 611"/>
              <a:gd name="T8" fmla="*/ 597 w 719"/>
              <a:gd name="T9" fmla="*/ 1 h 611"/>
              <a:gd name="T10" fmla="*/ 593 w 719"/>
              <a:gd name="T11" fmla="*/ 3 h 611"/>
              <a:gd name="T12" fmla="*/ 225 w 719"/>
              <a:gd name="T13" fmla="*/ 372 h 611"/>
              <a:gd name="T14" fmla="*/ 126 w 719"/>
              <a:gd name="T15" fmla="*/ 274 h 611"/>
              <a:gd name="T16" fmla="*/ 123 w 719"/>
              <a:gd name="T17" fmla="*/ 272 h 611"/>
              <a:gd name="T18" fmla="*/ 119 w 719"/>
              <a:gd name="T19" fmla="*/ 271 h 611"/>
              <a:gd name="T20" fmla="*/ 114 w 719"/>
              <a:gd name="T21" fmla="*/ 272 h 611"/>
              <a:gd name="T22" fmla="*/ 110 w 719"/>
              <a:gd name="T23" fmla="*/ 274 h 611"/>
              <a:gd name="T24" fmla="*/ 4 w 719"/>
              <a:gd name="T25" fmla="*/ 380 h 611"/>
              <a:gd name="T26" fmla="*/ 2 w 719"/>
              <a:gd name="T27" fmla="*/ 385 h 611"/>
              <a:gd name="T28" fmla="*/ 0 w 719"/>
              <a:gd name="T29" fmla="*/ 389 h 611"/>
              <a:gd name="T30" fmla="*/ 2 w 719"/>
              <a:gd name="T31" fmla="*/ 394 h 611"/>
              <a:gd name="T32" fmla="*/ 4 w 719"/>
              <a:gd name="T33" fmla="*/ 397 h 611"/>
              <a:gd name="T34" fmla="*/ 216 w 719"/>
              <a:gd name="T35" fmla="*/ 608 h 611"/>
              <a:gd name="T36" fmla="*/ 219 w 719"/>
              <a:gd name="T37" fmla="*/ 610 h 611"/>
              <a:gd name="T38" fmla="*/ 225 w 719"/>
              <a:gd name="T39" fmla="*/ 611 h 611"/>
              <a:gd name="T40" fmla="*/ 229 w 719"/>
              <a:gd name="T41" fmla="*/ 610 h 611"/>
              <a:gd name="T42" fmla="*/ 232 w 719"/>
              <a:gd name="T43" fmla="*/ 608 h 611"/>
              <a:gd name="T44" fmla="*/ 716 w 719"/>
              <a:gd name="T45" fmla="*/ 125 h 611"/>
              <a:gd name="T46" fmla="*/ 718 w 719"/>
              <a:gd name="T47" fmla="*/ 122 h 611"/>
              <a:gd name="T48" fmla="*/ 719 w 719"/>
              <a:gd name="T49" fmla="*/ 117 h 611"/>
              <a:gd name="T50" fmla="*/ 718 w 719"/>
              <a:gd name="T51" fmla="*/ 112 h 611"/>
              <a:gd name="T52" fmla="*/ 716 w 719"/>
              <a:gd name="T53" fmla="*/ 109 h 6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719" h="611">
                <a:moveTo>
                  <a:pt x="716" y="109"/>
                </a:moveTo>
                <a:lnTo>
                  <a:pt x="610" y="3"/>
                </a:lnTo>
                <a:lnTo>
                  <a:pt x="607" y="1"/>
                </a:lnTo>
                <a:lnTo>
                  <a:pt x="601" y="0"/>
                </a:lnTo>
                <a:lnTo>
                  <a:pt x="597" y="1"/>
                </a:lnTo>
                <a:lnTo>
                  <a:pt x="593" y="3"/>
                </a:lnTo>
                <a:lnTo>
                  <a:pt x="225" y="372"/>
                </a:lnTo>
                <a:lnTo>
                  <a:pt x="126" y="274"/>
                </a:lnTo>
                <a:lnTo>
                  <a:pt x="123" y="272"/>
                </a:lnTo>
                <a:lnTo>
                  <a:pt x="119" y="271"/>
                </a:lnTo>
                <a:lnTo>
                  <a:pt x="114" y="272"/>
                </a:lnTo>
                <a:lnTo>
                  <a:pt x="110" y="274"/>
                </a:lnTo>
                <a:lnTo>
                  <a:pt x="4" y="380"/>
                </a:lnTo>
                <a:lnTo>
                  <a:pt x="2" y="385"/>
                </a:lnTo>
                <a:lnTo>
                  <a:pt x="0" y="389"/>
                </a:lnTo>
                <a:lnTo>
                  <a:pt x="2" y="394"/>
                </a:lnTo>
                <a:lnTo>
                  <a:pt x="4" y="397"/>
                </a:lnTo>
                <a:lnTo>
                  <a:pt x="216" y="608"/>
                </a:lnTo>
                <a:lnTo>
                  <a:pt x="219" y="610"/>
                </a:lnTo>
                <a:lnTo>
                  <a:pt x="225" y="611"/>
                </a:lnTo>
                <a:lnTo>
                  <a:pt x="229" y="610"/>
                </a:lnTo>
                <a:lnTo>
                  <a:pt x="232" y="608"/>
                </a:lnTo>
                <a:lnTo>
                  <a:pt x="716" y="125"/>
                </a:lnTo>
                <a:lnTo>
                  <a:pt x="718" y="122"/>
                </a:lnTo>
                <a:lnTo>
                  <a:pt x="719" y="117"/>
                </a:lnTo>
                <a:lnTo>
                  <a:pt x="718" y="112"/>
                </a:lnTo>
                <a:lnTo>
                  <a:pt x="716" y="10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" name="Freeform 1675">
            <a:extLst>
              <a:ext uri="{FF2B5EF4-FFF2-40B4-BE49-F238E27FC236}">
                <a16:creationId xmlns:a16="http://schemas.microsoft.com/office/drawing/2014/main" id="{C933CD35-ECE8-4376-93FF-FA924EFBD993}"/>
              </a:ext>
            </a:extLst>
          </p:cNvPr>
          <p:cNvSpPr>
            <a:spLocks/>
          </p:cNvSpPr>
          <p:nvPr/>
        </p:nvSpPr>
        <p:spPr bwMode="auto">
          <a:xfrm>
            <a:off x="4686167" y="5515654"/>
            <a:ext cx="276950" cy="235406"/>
          </a:xfrm>
          <a:custGeom>
            <a:avLst/>
            <a:gdLst>
              <a:gd name="T0" fmla="*/ 716 w 719"/>
              <a:gd name="T1" fmla="*/ 109 h 611"/>
              <a:gd name="T2" fmla="*/ 610 w 719"/>
              <a:gd name="T3" fmla="*/ 3 h 611"/>
              <a:gd name="T4" fmla="*/ 607 w 719"/>
              <a:gd name="T5" fmla="*/ 1 h 611"/>
              <a:gd name="T6" fmla="*/ 601 w 719"/>
              <a:gd name="T7" fmla="*/ 0 h 611"/>
              <a:gd name="T8" fmla="*/ 597 w 719"/>
              <a:gd name="T9" fmla="*/ 1 h 611"/>
              <a:gd name="T10" fmla="*/ 593 w 719"/>
              <a:gd name="T11" fmla="*/ 3 h 611"/>
              <a:gd name="T12" fmla="*/ 225 w 719"/>
              <a:gd name="T13" fmla="*/ 372 h 611"/>
              <a:gd name="T14" fmla="*/ 126 w 719"/>
              <a:gd name="T15" fmla="*/ 274 h 611"/>
              <a:gd name="T16" fmla="*/ 123 w 719"/>
              <a:gd name="T17" fmla="*/ 272 h 611"/>
              <a:gd name="T18" fmla="*/ 119 w 719"/>
              <a:gd name="T19" fmla="*/ 271 h 611"/>
              <a:gd name="T20" fmla="*/ 114 w 719"/>
              <a:gd name="T21" fmla="*/ 272 h 611"/>
              <a:gd name="T22" fmla="*/ 110 w 719"/>
              <a:gd name="T23" fmla="*/ 274 h 611"/>
              <a:gd name="T24" fmla="*/ 4 w 719"/>
              <a:gd name="T25" fmla="*/ 380 h 611"/>
              <a:gd name="T26" fmla="*/ 2 w 719"/>
              <a:gd name="T27" fmla="*/ 385 h 611"/>
              <a:gd name="T28" fmla="*/ 0 w 719"/>
              <a:gd name="T29" fmla="*/ 389 h 611"/>
              <a:gd name="T30" fmla="*/ 2 w 719"/>
              <a:gd name="T31" fmla="*/ 394 h 611"/>
              <a:gd name="T32" fmla="*/ 4 w 719"/>
              <a:gd name="T33" fmla="*/ 397 h 611"/>
              <a:gd name="T34" fmla="*/ 216 w 719"/>
              <a:gd name="T35" fmla="*/ 608 h 611"/>
              <a:gd name="T36" fmla="*/ 219 w 719"/>
              <a:gd name="T37" fmla="*/ 610 h 611"/>
              <a:gd name="T38" fmla="*/ 225 w 719"/>
              <a:gd name="T39" fmla="*/ 611 h 611"/>
              <a:gd name="T40" fmla="*/ 229 w 719"/>
              <a:gd name="T41" fmla="*/ 610 h 611"/>
              <a:gd name="T42" fmla="*/ 232 w 719"/>
              <a:gd name="T43" fmla="*/ 608 h 611"/>
              <a:gd name="T44" fmla="*/ 716 w 719"/>
              <a:gd name="T45" fmla="*/ 125 h 611"/>
              <a:gd name="T46" fmla="*/ 718 w 719"/>
              <a:gd name="T47" fmla="*/ 122 h 611"/>
              <a:gd name="T48" fmla="*/ 719 w 719"/>
              <a:gd name="T49" fmla="*/ 117 h 611"/>
              <a:gd name="T50" fmla="*/ 718 w 719"/>
              <a:gd name="T51" fmla="*/ 112 h 611"/>
              <a:gd name="T52" fmla="*/ 716 w 719"/>
              <a:gd name="T53" fmla="*/ 109 h 6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719" h="611">
                <a:moveTo>
                  <a:pt x="716" y="109"/>
                </a:moveTo>
                <a:lnTo>
                  <a:pt x="610" y="3"/>
                </a:lnTo>
                <a:lnTo>
                  <a:pt x="607" y="1"/>
                </a:lnTo>
                <a:lnTo>
                  <a:pt x="601" y="0"/>
                </a:lnTo>
                <a:lnTo>
                  <a:pt x="597" y="1"/>
                </a:lnTo>
                <a:lnTo>
                  <a:pt x="593" y="3"/>
                </a:lnTo>
                <a:lnTo>
                  <a:pt x="225" y="372"/>
                </a:lnTo>
                <a:lnTo>
                  <a:pt x="126" y="274"/>
                </a:lnTo>
                <a:lnTo>
                  <a:pt x="123" y="272"/>
                </a:lnTo>
                <a:lnTo>
                  <a:pt x="119" y="271"/>
                </a:lnTo>
                <a:lnTo>
                  <a:pt x="114" y="272"/>
                </a:lnTo>
                <a:lnTo>
                  <a:pt x="110" y="274"/>
                </a:lnTo>
                <a:lnTo>
                  <a:pt x="4" y="380"/>
                </a:lnTo>
                <a:lnTo>
                  <a:pt x="2" y="385"/>
                </a:lnTo>
                <a:lnTo>
                  <a:pt x="0" y="389"/>
                </a:lnTo>
                <a:lnTo>
                  <a:pt x="2" y="394"/>
                </a:lnTo>
                <a:lnTo>
                  <a:pt x="4" y="397"/>
                </a:lnTo>
                <a:lnTo>
                  <a:pt x="216" y="608"/>
                </a:lnTo>
                <a:lnTo>
                  <a:pt x="219" y="610"/>
                </a:lnTo>
                <a:lnTo>
                  <a:pt x="225" y="611"/>
                </a:lnTo>
                <a:lnTo>
                  <a:pt x="229" y="610"/>
                </a:lnTo>
                <a:lnTo>
                  <a:pt x="232" y="608"/>
                </a:lnTo>
                <a:lnTo>
                  <a:pt x="716" y="125"/>
                </a:lnTo>
                <a:lnTo>
                  <a:pt x="718" y="122"/>
                </a:lnTo>
                <a:lnTo>
                  <a:pt x="719" y="117"/>
                </a:lnTo>
                <a:lnTo>
                  <a:pt x="718" y="112"/>
                </a:lnTo>
                <a:lnTo>
                  <a:pt x="716" y="10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" name="Freeform 1675">
            <a:extLst>
              <a:ext uri="{FF2B5EF4-FFF2-40B4-BE49-F238E27FC236}">
                <a16:creationId xmlns:a16="http://schemas.microsoft.com/office/drawing/2014/main" id="{9A535819-1C32-416C-AB1F-A17055BBDE4E}"/>
              </a:ext>
            </a:extLst>
          </p:cNvPr>
          <p:cNvSpPr>
            <a:spLocks/>
          </p:cNvSpPr>
          <p:nvPr/>
        </p:nvSpPr>
        <p:spPr bwMode="auto">
          <a:xfrm>
            <a:off x="7228885" y="5515654"/>
            <a:ext cx="276950" cy="235406"/>
          </a:xfrm>
          <a:custGeom>
            <a:avLst/>
            <a:gdLst>
              <a:gd name="T0" fmla="*/ 716 w 719"/>
              <a:gd name="T1" fmla="*/ 109 h 611"/>
              <a:gd name="T2" fmla="*/ 610 w 719"/>
              <a:gd name="T3" fmla="*/ 3 h 611"/>
              <a:gd name="T4" fmla="*/ 607 w 719"/>
              <a:gd name="T5" fmla="*/ 1 h 611"/>
              <a:gd name="T6" fmla="*/ 601 w 719"/>
              <a:gd name="T7" fmla="*/ 0 h 611"/>
              <a:gd name="T8" fmla="*/ 597 w 719"/>
              <a:gd name="T9" fmla="*/ 1 h 611"/>
              <a:gd name="T10" fmla="*/ 593 w 719"/>
              <a:gd name="T11" fmla="*/ 3 h 611"/>
              <a:gd name="T12" fmla="*/ 225 w 719"/>
              <a:gd name="T13" fmla="*/ 372 h 611"/>
              <a:gd name="T14" fmla="*/ 126 w 719"/>
              <a:gd name="T15" fmla="*/ 274 h 611"/>
              <a:gd name="T16" fmla="*/ 123 w 719"/>
              <a:gd name="T17" fmla="*/ 272 h 611"/>
              <a:gd name="T18" fmla="*/ 119 w 719"/>
              <a:gd name="T19" fmla="*/ 271 h 611"/>
              <a:gd name="T20" fmla="*/ 114 w 719"/>
              <a:gd name="T21" fmla="*/ 272 h 611"/>
              <a:gd name="T22" fmla="*/ 110 w 719"/>
              <a:gd name="T23" fmla="*/ 274 h 611"/>
              <a:gd name="T24" fmla="*/ 4 w 719"/>
              <a:gd name="T25" fmla="*/ 380 h 611"/>
              <a:gd name="T26" fmla="*/ 2 w 719"/>
              <a:gd name="T27" fmla="*/ 385 h 611"/>
              <a:gd name="T28" fmla="*/ 0 w 719"/>
              <a:gd name="T29" fmla="*/ 389 h 611"/>
              <a:gd name="T30" fmla="*/ 2 w 719"/>
              <a:gd name="T31" fmla="*/ 394 h 611"/>
              <a:gd name="T32" fmla="*/ 4 w 719"/>
              <a:gd name="T33" fmla="*/ 397 h 611"/>
              <a:gd name="T34" fmla="*/ 216 w 719"/>
              <a:gd name="T35" fmla="*/ 608 h 611"/>
              <a:gd name="T36" fmla="*/ 219 w 719"/>
              <a:gd name="T37" fmla="*/ 610 h 611"/>
              <a:gd name="T38" fmla="*/ 225 w 719"/>
              <a:gd name="T39" fmla="*/ 611 h 611"/>
              <a:gd name="T40" fmla="*/ 229 w 719"/>
              <a:gd name="T41" fmla="*/ 610 h 611"/>
              <a:gd name="T42" fmla="*/ 232 w 719"/>
              <a:gd name="T43" fmla="*/ 608 h 611"/>
              <a:gd name="T44" fmla="*/ 716 w 719"/>
              <a:gd name="T45" fmla="*/ 125 h 611"/>
              <a:gd name="T46" fmla="*/ 718 w 719"/>
              <a:gd name="T47" fmla="*/ 122 h 611"/>
              <a:gd name="T48" fmla="*/ 719 w 719"/>
              <a:gd name="T49" fmla="*/ 117 h 611"/>
              <a:gd name="T50" fmla="*/ 718 w 719"/>
              <a:gd name="T51" fmla="*/ 112 h 611"/>
              <a:gd name="T52" fmla="*/ 716 w 719"/>
              <a:gd name="T53" fmla="*/ 109 h 6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719" h="611">
                <a:moveTo>
                  <a:pt x="716" y="109"/>
                </a:moveTo>
                <a:lnTo>
                  <a:pt x="610" y="3"/>
                </a:lnTo>
                <a:lnTo>
                  <a:pt x="607" y="1"/>
                </a:lnTo>
                <a:lnTo>
                  <a:pt x="601" y="0"/>
                </a:lnTo>
                <a:lnTo>
                  <a:pt x="597" y="1"/>
                </a:lnTo>
                <a:lnTo>
                  <a:pt x="593" y="3"/>
                </a:lnTo>
                <a:lnTo>
                  <a:pt x="225" y="372"/>
                </a:lnTo>
                <a:lnTo>
                  <a:pt x="126" y="274"/>
                </a:lnTo>
                <a:lnTo>
                  <a:pt x="123" y="272"/>
                </a:lnTo>
                <a:lnTo>
                  <a:pt x="119" y="271"/>
                </a:lnTo>
                <a:lnTo>
                  <a:pt x="114" y="272"/>
                </a:lnTo>
                <a:lnTo>
                  <a:pt x="110" y="274"/>
                </a:lnTo>
                <a:lnTo>
                  <a:pt x="4" y="380"/>
                </a:lnTo>
                <a:lnTo>
                  <a:pt x="2" y="385"/>
                </a:lnTo>
                <a:lnTo>
                  <a:pt x="0" y="389"/>
                </a:lnTo>
                <a:lnTo>
                  <a:pt x="2" y="394"/>
                </a:lnTo>
                <a:lnTo>
                  <a:pt x="4" y="397"/>
                </a:lnTo>
                <a:lnTo>
                  <a:pt x="216" y="608"/>
                </a:lnTo>
                <a:lnTo>
                  <a:pt x="219" y="610"/>
                </a:lnTo>
                <a:lnTo>
                  <a:pt x="225" y="611"/>
                </a:lnTo>
                <a:lnTo>
                  <a:pt x="229" y="610"/>
                </a:lnTo>
                <a:lnTo>
                  <a:pt x="232" y="608"/>
                </a:lnTo>
                <a:lnTo>
                  <a:pt x="716" y="125"/>
                </a:lnTo>
                <a:lnTo>
                  <a:pt x="718" y="122"/>
                </a:lnTo>
                <a:lnTo>
                  <a:pt x="719" y="117"/>
                </a:lnTo>
                <a:lnTo>
                  <a:pt x="718" y="112"/>
                </a:lnTo>
                <a:lnTo>
                  <a:pt x="716" y="10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" name="Freeform 1675">
            <a:extLst>
              <a:ext uri="{FF2B5EF4-FFF2-40B4-BE49-F238E27FC236}">
                <a16:creationId xmlns:a16="http://schemas.microsoft.com/office/drawing/2014/main" id="{B8D649AD-E83C-42A6-A04B-68A40523C8F6}"/>
              </a:ext>
            </a:extLst>
          </p:cNvPr>
          <p:cNvSpPr>
            <a:spLocks/>
          </p:cNvSpPr>
          <p:nvPr/>
        </p:nvSpPr>
        <p:spPr bwMode="auto">
          <a:xfrm>
            <a:off x="4043000" y="4600346"/>
            <a:ext cx="276950" cy="235406"/>
          </a:xfrm>
          <a:custGeom>
            <a:avLst/>
            <a:gdLst>
              <a:gd name="T0" fmla="*/ 716 w 719"/>
              <a:gd name="T1" fmla="*/ 109 h 611"/>
              <a:gd name="T2" fmla="*/ 610 w 719"/>
              <a:gd name="T3" fmla="*/ 3 h 611"/>
              <a:gd name="T4" fmla="*/ 607 w 719"/>
              <a:gd name="T5" fmla="*/ 1 h 611"/>
              <a:gd name="T6" fmla="*/ 601 w 719"/>
              <a:gd name="T7" fmla="*/ 0 h 611"/>
              <a:gd name="T8" fmla="*/ 597 w 719"/>
              <a:gd name="T9" fmla="*/ 1 h 611"/>
              <a:gd name="T10" fmla="*/ 593 w 719"/>
              <a:gd name="T11" fmla="*/ 3 h 611"/>
              <a:gd name="T12" fmla="*/ 225 w 719"/>
              <a:gd name="T13" fmla="*/ 372 h 611"/>
              <a:gd name="T14" fmla="*/ 126 w 719"/>
              <a:gd name="T15" fmla="*/ 274 h 611"/>
              <a:gd name="T16" fmla="*/ 123 w 719"/>
              <a:gd name="T17" fmla="*/ 272 h 611"/>
              <a:gd name="T18" fmla="*/ 119 w 719"/>
              <a:gd name="T19" fmla="*/ 271 h 611"/>
              <a:gd name="T20" fmla="*/ 114 w 719"/>
              <a:gd name="T21" fmla="*/ 272 h 611"/>
              <a:gd name="T22" fmla="*/ 110 w 719"/>
              <a:gd name="T23" fmla="*/ 274 h 611"/>
              <a:gd name="T24" fmla="*/ 4 w 719"/>
              <a:gd name="T25" fmla="*/ 380 h 611"/>
              <a:gd name="T26" fmla="*/ 2 w 719"/>
              <a:gd name="T27" fmla="*/ 385 h 611"/>
              <a:gd name="T28" fmla="*/ 0 w 719"/>
              <a:gd name="T29" fmla="*/ 389 h 611"/>
              <a:gd name="T30" fmla="*/ 2 w 719"/>
              <a:gd name="T31" fmla="*/ 394 h 611"/>
              <a:gd name="T32" fmla="*/ 4 w 719"/>
              <a:gd name="T33" fmla="*/ 397 h 611"/>
              <a:gd name="T34" fmla="*/ 216 w 719"/>
              <a:gd name="T35" fmla="*/ 608 h 611"/>
              <a:gd name="T36" fmla="*/ 219 w 719"/>
              <a:gd name="T37" fmla="*/ 610 h 611"/>
              <a:gd name="T38" fmla="*/ 225 w 719"/>
              <a:gd name="T39" fmla="*/ 611 h 611"/>
              <a:gd name="T40" fmla="*/ 229 w 719"/>
              <a:gd name="T41" fmla="*/ 610 h 611"/>
              <a:gd name="T42" fmla="*/ 232 w 719"/>
              <a:gd name="T43" fmla="*/ 608 h 611"/>
              <a:gd name="T44" fmla="*/ 716 w 719"/>
              <a:gd name="T45" fmla="*/ 125 h 611"/>
              <a:gd name="T46" fmla="*/ 718 w 719"/>
              <a:gd name="T47" fmla="*/ 122 h 611"/>
              <a:gd name="T48" fmla="*/ 719 w 719"/>
              <a:gd name="T49" fmla="*/ 117 h 611"/>
              <a:gd name="T50" fmla="*/ 718 w 719"/>
              <a:gd name="T51" fmla="*/ 112 h 611"/>
              <a:gd name="T52" fmla="*/ 716 w 719"/>
              <a:gd name="T53" fmla="*/ 109 h 6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719" h="611">
                <a:moveTo>
                  <a:pt x="716" y="109"/>
                </a:moveTo>
                <a:lnTo>
                  <a:pt x="610" y="3"/>
                </a:lnTo>
                <a:lnTo>
                  <a:pt x="607" y="1"/>
                </a:lnTo>
                <a:lnTo>
                  <a:pt x="601" y="0"/>
                </a:lnTo>
                <a:lnTo>
                  <a:pt x="597" y="1"/>
                </a:lnTo>
                <a:lnTo>
                  <a:pt x="593" y="3"/>
                </a:lnTo>
                <a:lnTo>
                  <a:pt x="225" y="372"/>
                </a:lnTo>
                <a:lnTo>
                  <a:pt x="126" y="274"/>
                </a:lnTo>
                <a:lnTo>
                  <a:pt x="123" y="272"/>
                </a:lnTo>
                <a:lnTo>
                  <a:pt x="119" y="271"/>
                </a:lnTo>
                <a:lnTo>
                  <a:pt x="114" y="272"/>
                </a:lnTo>
                <a:lnTo>
                  <a:pt x="110" y="274"/>
                </a:lnTo>
                <a:lnTo>
                  <a:pt x="4" y="380"/>
                </a:lnTo>
                <a:lnTo>
                  <a:pt x="2" y="385"/>
                </a:lnTo>
                <a:lnTo>
                  <a:pt x="0" y="389"/>
                </a:lnTo>
                <a:lnTo>
                  <a:pt x="2" y="394"/>
                </a:lnTo>
                <a:lnTo>
                  <a:pt x="4" y="397"/>
                </a:lnTo>
                <a:lnTo>
                  <a:pt x="216" y="608"/>
                </a:lnTo>
                <a:lnTo>
                  <a:pt x="219" y="610"/>
                </a:lnTo>
                <a:lnTo>
                  <a:pt x="225" y="611"/>
                </a:lnTo>
                <a:lnTo>
                  <a:pt x="229" y="610"/>
                </a:lnTo>
                <a:lnTo>
                  <a:pt x="232" y="608"/>
                </a:lnTo>
                <a:lnTo>
                  <a:pt x="716" y="125"/>
                </a:lnTo>
                <a:lnTo>
                  <a:pt x="718" y="122"/>
                </a:lnTo>
                <a:lnTo>
                  <a:pt x="719" y="117"/>
                </a:lnTo>
                <a:lnTo>
                  <a:pt x="718" y="112"/>
                </a:lnTo>
                <a:lnTo>
                  <a:pt x="716" y="10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" name="Freeform 1675">
            <a:extLst>
              <a:ext uri="{FF2B5EF4-FFF2-40B4-BE49-F238E27FC236}">
                <a16:creationId xmlns:a16="http://schemas.microsoft.com/office/drawing/2014/main" id="{14085482-209F-4FAD-9EB6-CD20F5484E57}"/>
              </a:ext>
            </a:extLst>
          </p:cNvPr>
          <p:cNvSpPr>
            <a:spLocks/>
          </p:cNvSpPr>
          <p:nvPr/>
        </p:nvSpPr>
        <p:spPr bwMode="auto">
          <a:xfrm>
            <a:off x="7872050" y="4600346"/>
            <a:ext cx="276950" cy="235406"/>
          </a:xfrm>
          <a:custGeom>
            <a:avLst/>
            <a:gdLst>
              <a:gd name="T0" fmla="*/ 716 w 719"/>
              <a:gd name="T1" fmla="*/ 109 h 611"/>
              <a:gd name="T2" fmla="*/ 610 w 719"/>
              <a:gd name="T3" fmla="*/ 3 h 611"/>
              <a:gd name="T4" fmla="*/ 607 w 719"/>
              <a:gd name="T5" fmla="*/ 1 h 611"/>
              <a:gd name="T6" fmla="*/ 601 w 719"/>
              <a:gd name="T7" fmla="*/ 0 h 611"/>
              <a:gd name="T8" fmla="*/ 597 w 719"/>
              <a:gd name="T9" fmla="*/ 1 h 611"/>
              <a:gd name="T10" fmla="*/ 593 w 719"/>
              <a:gd name="T11" fmla="*/ 3 h 611"/>
              <a:gd name="T12" fmla="*/ 225 w 719"/>
              <a:gd name="T13" fmla="*/ 372 h 611"/>
              <a:gd name="T14" fmla="*/ 126 w 719"/>
              <a:gd name="T15" fmla="*/ 274 h 611"/>
              <a:gd name="T16" fmla="*/ 123 w 719"/>
              <a:gd name="T17" fmla="*/ 272 h 611"/>
              <a:gd name="T18" fmla="*/ 119 w 719"/>
              <a:gd name="T19" fmla="*/ 271 h 611"/>
              <a:gd name="T20" fmla="*/ 114 w 719"/>
              <a:gd name="T21" fmla="*/ 272 h 611"/>
              <a:gd name="T22" fmla="*/ 110 w 719"/>
              <a:gd name="T23" fmla="*/ 274 h 611"/>
              <a:gd name="T24" fmla="*/ 4 w 719"/>
              <a:gd name="T25" fmla="*/ 380 h 611"/>
              <a:gd name="T26" fmla="*/ 2 w 719"/>
              <a:gd name="T27" fmla="*/ 385 h 611"/>
              <a:gd name="T28" fmla="*/ 0 w 719"/>
              <a:gd name="T29" fmla="*/ 389 h 611"/>
              <a:gd name="T30" fmla="*/ 2 w 719"/>
              <a:gd name="T31" fmla="*/ 394 h 611"/>
              <a:gd name="T32" fmla="*/ 4 w 719"/>
              <a:gd name="T33" fmla="*/ 397 h 611"/>
              <a:gd name="T34" fmla="*/ 216 w 719"/>
              <a:gd name="T35" fmla="*/ 608 h 611"/>
              <a:gd name="T36" fmla="*/ 219 w 719"/>
              <a:gd name="T37" fmla="*/ 610 h 611"/>
              <a:gd name="T38" fmla="*/ 225 w 719"/>
              <a:gd name="T39" fmla="*/ 611 h 611"/>
              <a:gd name="T40" fmla="*/ 229 w 719"/>
              <a:gd name="T41" fmla="*/ 610 h 611"/>
              <a:gd name="T42" fmla="*/ 232 w 719"/>
              <a:gd name="T43" fmla="*/ 608 h 611"/>
              <a:gd name="T44" fmla="*/ 716 w 719"/>
              <a:gd name="T45" fmla="*/ 125 h 611"/>
              <a:gd name="T46" fmla="*/ 718 w 719"/>
              <a:gd name="T47" fmla="*/ 122 h 611"/>
              <a:gd name="T48" fmla="*/ 719 w 719"/>
              <a:gd name="T49" fmla="*/ 117 h 611"/>
              <a:gd name="T50" fmla="*/ 718 w 719"/>
              <a:gd name="T51" fmla="*/ 112 h 611"/>
              <a:gd name="T52" fmla="*/ 716 w 719"/>
              <a:gd name="T53" fmla="*/ 109 h 6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719" h="611">
                <a:moveTo>
                  <a:pt x="716" y="109"/>
                </a:moveTo>
                <a:lnTo>
                  <a:pt x="610" y="3"/>
                </a:lnTo>
                <a:lnTo>
                  <a:pt x="607" y="1"/>
                </a:lnTo>
                <a:lnTo>
                  <a:pt x="601" y="0"/>
                </a:lnTo>
                <a:lnTo>
                  <a:pt x="597" y="1"/>
                </a:lnTo>
                <a:lnTo>
                  <a:pt x="593" y="3"/>
                </a:lnTo>
                <a:lnTo>
                  <a:pt x="225" y="372"/>
                </a:lnTo>
                <a:lnTo>
                  <a:pt x="126" y="274"/>
                </a:lnTo>
                <a:lnTo>
                  <a:pt x="123" y="272"/>
                </a:lnTo>
                <a:lnTo>
                  <a:pt x="119" y="271"/>
                </a:lnTo>
                <a:lnTo>
                  <a:pt x="114" y="272"/>
                </a:lnTo>
                <a:lnTo>
                  <a:pt x="110" y="274"/>
                </a:lnTo>
                <a:lnTo>
                  <a:pt x="4" y="380"/>
                </a:lnTo>
                <a:lnTo>
                  <a:pt x="2" y="385"/>
                </a:lnTo>
                <a:lnTo>
                  <a:pt x="0" y="389"/>
                </a:lnTo>
                <a:lnTo>
                  <a:pt x="2" y="394"/>
                </a:lnTo>
                <a:lnTo>
                  <a:pt x="4" y="397"/>
                </a:lnTo>
                <a:lnTo>
                  <a:pt x="216" y="608"/>
                </a:lnTo>
                <a:lnTo>
                  <a:pt x="219" y="610"/>
                </a:lnTo>
                <a:lnTo>
                  <a:pt x="225" y="611"/>
                </a:lnTo>
                <a:lnTo>
                  <a:pt x="229" y="610"/>
                </a:lnTo>
                <a:lnTo>
                  <a:pt x="232" y="608"/>
                </a:lnTo>
                <a:lnTo>
                  <a:pt x="716" y="125"/>
                </a:lnTo>
                <a:lnTo>
                  <a:pt x="718" y="122"/>
                </a:lnTo>
                <a:lnTo>
                  <a:pt x="719" y="117"/>
                </a:lnTo>
                <a:lnTo>
                  <a:pt x="718" y="112"/>
                </a:lnTo>
                <a:lnTo>
                  <a:pt x="716" y="10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" name="Freeform 1675">
            <a:extLst>
              <a:ext uri="{FF2B5EF4-FFF2-40B4-BE49-F238E27FC236}">
                <a16:creationId xmlns:a16="http://schemas.microsoft.com/office/drawing/2014/main" id="{92409E74-500D-437B-A07D-A9D471F80838}"/>
              </a:ext>
            </a:extLst>
          </p:cNvPr>
          <p:cNvSpPr>
            <a:spLocks/>
          </p:cNvSpPr>
          <p:nvPr/>
        </p:nvSpPr>
        <p:spPr bwMode="auto">
          <a:xfrm>
            <a:off x="4043000" y="3685039"/>
            <a:ext cx="276950" cy="235406"/>
          </a:xfrm>
          <a:custGeom>
            <a:avLst/>
            <a:gdLst>
              <a:gd name="T0" fmla="*/ 716 w 719"/>
              <a:gd name="T1" fmla="*/ 109 h 611"/>
              <a:gd name="T2" fmla="*/ 610 w 719"/>
              <a:gd name="T3" fmla="*/ 3 h 611"/>
              <a:gd name="T4" fmla="*/ 607 w 719"/>
              <a:gd name="T5" fmla="*/ 1 h 611"/>
              <a:gd name="T6" fmla="*/ 601 w 719"/>
              <a:gd name="T7" fmla="*/ 0 h 611"/>
              <a:gd name="T8" fmla="*/ 597 w 719"/>
              <a:gd name="T9" fmla="*/ 1 h 611"/>
              <a:gd name="T10" fmla="*/ 593 w 719"/>
              <a:gd name="T11" fmla="*/ 3 h 611"/>
              <a:gd name="T12" fmla="*/ 225 w 719"/>
              <a:gd name="T13" fmla="*/ 372 h 611"/>
              <a:gd name="T14" fmla="*/ 126 w 719"/>
              <a:gd name="T15" fmla="*/ 274 h 611"/>
              <a:gd name="T16" fmla="*/ 123 w 719"/>
              <a:gd name="T17" fmla="*/ 272 h 611"/>
              <a:gd name="T18" fmla="*/ 119 w 719"/>
              <a:gd name="T19" fmla="*/ 271 h 611"/>
              <a:gd name="T20" fmla="*/ 114 w 719"/>
              <a:gd name="T21" fmla="*/ 272 h 611"/>
              <a:gd name="T22" fmla="*/ 110 w 719"/>
              <a:gd name="T23" fmla="*/ 274 h 611"/>
              <a:gd name="T24" fmla="*/ 4 w 719"/>
              <a:gd name="T25" fmla="*/ 380 h 611"/>
              <a:gd name="T26" fmla="*/ 2 w 719"/>
              <a:gd name="T27" fmla="*/ 385 h 611"/>
              <a:gd name="T28" fmla="*/ 0 w 719"/>
              <a:gd name="T29" fmla="*/ 389 h 611"/>
              <a:gd name="T30" fmla="*/ 2 w 719"/>
              <a:gd name="T31" fmla="*/ 394 h 611"/>
              <a:gd name="T32" fmla="*/ 4 w 719"/>
              <a:gd name="T33" fmla="*/ 397 h 611"/>
              <a:gd name="T34" fmla="*/ 216 w 719"/>
              <a:gd name="T35" fmla="*/ 608 h 611"/>
              <a:gd name="T36" fmla="*/ 219 w 719"/>
              <a:gd name="T37" fmla="*/ 610 h 611"/>
              <a:gd name="T38" fmla="*/ 225 w 719"/>
              <a:gd name="T39" fmla="*/ 611 h 611"/>
              <a:gd name="T40" fmla="*/ 229 w 719"/>
              <a:gd name="T41" fmla="*/ 610 h 611"/>
              <a:gd name="T42" fmla="*/ 232 w 719"/>
              <a:gd name="T43" fmla="*/ 608 h 611"/>
              <a:gd name="T44" fmla="*/ 716 w 719"/>
              <a:gd name="T45" fmla="*/ 125 h 611"/>
              <a:gd name="T46" fmla="*/ 718 w 719"/>
              <a:gd name="T47" fmla="*/ 122 h 611"/>
              <a:gd name="T48" fmla="*/ 719 w 719"/>
              <a:gd name="T49" fmla="*/ 117 h 611"/>
              <a:gd name="T50" fmla="*/ 718 w 719"/>
              <a:gd name="T51" fmla="*/ 112 h 611"/>
              <a:gd name="T52" fmla="*/ 716 w 719"/>
              <a:gd name="T53" fmla="*/ 109 h 6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719" h="611">
                <a:moveTo>
                  <a:pt x="716" y="109"/>
                </a:moveTo>
                <a:lnTo>
                  <a:pt x="610" y="3"/>
                </a:lnTo>
                <a:lnTo>
                  <a:pt x="607" y="1"/>
                </a:lnTo>
                <a:lnTo>
                  <a:pt x="601" y="0"/>
                </a:lnTo>
                <a:lnTo>
                  <a:pt x="597" y="1"/>
                </a:lnTo>
                <a:lnTo>
                  <a:pt x="593" y="3"/>
                </a:lnTo>
                <a:lnTo>
                  <a:pt x="225" y="372"/>
                </a:lnTo>
                <a:lnTo>
                  <a:pt x="126" y="274"/>
                </a:lnTo>
                <a:lnTo>
                  <a:pt x="123" y="272"/>
                </a:lnTo>
                <a:lnTo>
                  <a:pt x="119" y="271"/>
                </a:lnTo>
                <a:lnTo>
                  <a:pt x="114" y="272"/>
                </a:lnTo>
                <a:lnTo>
                  <a:pt x="110" y="274"/>
                </a:lnTo>
                <a:lnTo>
                  <a:pt x="4" y="380"/>
                </a:lnTo>
                <a:lnTo>
                  <a:pt x="2" y="385"/>
                </a:lnTo>
                <a:lnTo>
                  <a:pt x="0" y="389"/>
                </a:lnTo>
                <a:lnTo>
                  <a:pt x="2" y="394"/>
                </a:lnTo>
                <a:lnTo>
                  <a:pt x="4" y="397"/>
                </a:lnTo>
                <a:lnTo>
                  <a:pt x="216" y="608"/>
                </a:lnTo>
                <a:lnTo>
                  <a:pt x="219" y="610"/>
                </a:lnTo>
                <a:lnTo>
                  <a:pt x="225" y="611"/>
                </a:lnTo>
                <a:lnTo>
                  <a:pt x="229" y="610"/>
                </a:lnTo>
                <a:lnTo>
                  <a:pt x="232" y="608"/>
                </a:lnTo>
                <a:lnTo>
                  <a:pt x="716" y="125"/>
                </a:lnTo>
                <a:lnTo>
                  <a:pt x="718" y="122"/>
                </a:lnTo>
                <a:lnTo>
                  <a:pt x="719" y="117"/>
                </a:lnTo>
                <a:lnTo>
                  <a:pt x="718" y="112"/>
                </a:lnTo>
                <a:lnTo>
                  <a:pt x="716" y="10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" name="Freeform 1675">
            <a:extLst>
              <a:ext uri="{FF2B5EF4-FFF2-40B4-BE49-F238E27FC236}">
                <a16:creationId xmlns:a16="http://schemas.microsoft.com/office/drawing/2014/main" id="{7960689A-4C5B-430D-A0A8-638E345CF578}"/>
              </a:ext>
            </a:extLst>
          </p:cNvPr>
          <p:cNvSpPr>
            <a:spLocks/>
          </p:cNvSpPr>
          <p:nvPr/>
        </p:nvSpPr>
        <p:spPr bwMode="auto">
          <a:xfrm>
            <a:off x="7872050" y="3685039"/>
            <a:ext cx="276950" cy="235406"/>
          </a:xfrm>
          <a:custGeom>
            <a:avLst/>
            <a:gdLst>
              <a:gd name="T0" fmla="*/ 716 w 719"/>
              <a:gd name="T1" fmla="*/ 109 h 611"/>
              <a:gd name="T2" fmla="*/ 610 w 719"/>
              <a:gd name="T3" fmla="*/ 3 h 611"/>
              <a:gd name="T4" fmla="*/ 607 w 719"/>
              <a:gd name="T5" fmla="*/ 1 h 611"/>
              <a:gd name="T6" fmla="*/ 601 w 719"/>
              <a:gd name="T7" fmla="*/ 0 h 611"/>
              <a:gd name="T8" fmla="*/ 597 w 719"/>
              <a:gd name="T9" fmla="*/ 1 h 611"/>
              <a:gd name="T10" fmla="*/ 593 w 719"/>
              <a:gd name="T11" fmla="*/ 3 h 611"/>
              <a:gd name="T12" fmla="*/ 225 w 719"/>
              <a:gd name="T13" fmla="*/ 372 h 611"/>
              <a:gd name="T14" fmla="*/ 126 w 719"/>
              <a:gd name="T15" fmla="*/ 274 h 611"/>
              <a:gd name="T16" fmla="*/ 123 w 719"/>
              <a:gd name="T17" fmla="*/ 272 h 611"/>
              <a:gd name="T18" fmla="*/ 119 w 719"/>
              <a:gd name="T19" fmla="*/ 271 h 611"/>
              <a:gd name="T20" fmla="*/ 114 w 719"/>
              <a:gd name="T21" fmla="*/ 272 h 611"/>
              <a:gd name="T22" fmla="*/ 110 w 719"/>
              <a:gd name="T23" fmla="*/ 274 h 611"/>
              <a:gd name="T24" fmla="*/ 4 w 719"/>
              <a:gd name="T25" fmla="*/ 380 h 611"/>
              <a:gd name="T26" fmla="*/ 2 w 719"/>
              <a:gd name="T27" fmla="*/ 385 h 611"/>
              <a:gd name="T28" fmla="*/ 0 w 719"/>
              <a:gd name="T29" fmla="*/ 389 h 611"/>
              <a:gd name="T30" fmla="*/ 2 w 719"/>
              <a:gd name="T31" fmla="*/ 394 h 611"/>
              <a:gd name="T32" fmla="*/ 4 w 719"/>
              <a:gd name="T33" fmla="*/ 397 h 611"/>
              <a:gd name="T34" fmla="*/ 216 w 719"/>
              <a:gd name="T35" fmla="*/ 608 h 611"/>
              <a:gd name="T36" fmla="*/ 219 w 719"/>
              <a:gd name="T37" fmla="*/ 610 h 611"/>
              <a:gd name="T38" fmla="*/ 225 w 719"/>
              <a:gd name="T39" fmla="*/ 611 h 611"/>
              <a:gd name="T40" fmla="*/ 229 w 719"/>
              <a:gd name="T41" fmla="*/ 610 h 611"/>
              <a:gd name="T42" fmla="*/ 232 w 719"/>
              <a:gd name="T43" fmla="*/ 608 h 611"/>
              <a:gd name="T44" fmla="*/ 716 w 719"/>
              <a:gd name="T45" fmla="*/ 125 h 611"/>
              <a:gd name="T46" fmla="*/ 718 w 719"/>
              <a:gd name="T47" fmla="*/ 122 h 611"/>
              <a:gd name="T48" fmla="*/ 719 w 719"/>
              <a:gd name="T49" fmla="*/ 117 h 611"/>
              <a:gd name="T50" fmla="*/ 718 w 719"/>
              <a:gd name="T51" fmla="*/ 112 h 611"/>
              <a:gd name="T52" fmla="*/ 716 w 719"/>
              <a:gd name="T53" fmla="*/ 109 h 6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719" h="611">
                <a:moveTo>
                  <a:pt x="716" y="109"/>
                </a:moveTo>
                <a:lnTo>
                  <a:pt x="610" y="3"/>
                </a:lnTo>
                <a:lnTo>
                  <a:pt x="607" y="1"/>
                </a:lnTo>
                <a:lnTo>
                  <a:pt x="601" y="0"/>
                </a:lnTo>
                <a:lnTo>
                  <a:pt x="597" y="1"/>
                </a:lnTo>
                <a:lnTo>
                  <a:pt x="593" y="3"/>
                </a:lnTo>
                <a:lnTo>
                  <a:pt x="225" y="372"/>
                </a:lnTo>
                <a:lnTo>
                  <a:pt x="126" y="274"/>
                </a:lnTo>
                <a:lnTo>
                  <a:pt x="123" y="272"/>
                </a:lnTo>
                <a:lnTo>
                  <a:pt x="119" y="271"/>
                </a:lnTo>
                <a:lnTo>
                  <a:pt x="114" y="272"/>
                </a:lnTo>
                <a:lnTo>
                  <a:pt x="110" y="274"/>
                </a:lnTo>
                <a:lnTo>
                  <a:pt x="4" y="380"/>
                </a:lnTo>
                <a:lnTo>
                  <a:pt x="2" y="385"/>
                </a:lnTo>
                <a:lnTo>
                  <a:pt x="0" y="389"/>
                </a:lnTo>
                <a:lnTo>
                  <a:pt x="2" y="394"/>
                </a:lnTo>
                <a:lnTo>
                  <a:pt x="4" y="397"/>
                </a:lnTo>
                <a:lnTo>
                  <a:pt x="216" y="608"/>
                </a:lnTo>
                <a:lnTo>
                  <a:pt x="219" y="610"/>
                </a:lnTo>
                <a:lnTo>
                  <a:pt x="225" y="611"/>
                </a:lnTo>
                <a:lnTo>
                  <a:pt x="229" y="610"/>
                </a:lnTo>
                <a:lnTo>
                  <a:pt x="232" y="608"/>
                </a:lnTo>
                <a:lnTo>
                  <a:pt x="716" y="125"/>
                </a:lnTo>
                <a:lnTo>
                  <a:pt x="718" y="122"/>
                </a:lnTo>
                <a:lnTo>
                  <a:pt x="719" y="117"/>
                </a:lnTo>
                <a:lnTo>
                  <a:pt x="718" y="112"/>
                </a:lnTo>
                <a:lnTo>
                  <a:pt x="716" y="10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8CFB275C-D847-4540-9E59-A238222D132D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616804" y="2681437"/>
            <a:ext cx="3676331" cy="40011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r"/>
            <a:r>
              <a:rPr lang="ko-KR" sz="2000" b="1">
                <a:solidFill>
                  <a:schemeClr val="accent4"/>
                </a:solidFill>
                <a:latin typeface="TW Cen MT"/>
                <a:ea typeface="Malgun Gothic"/>
              </a:rPr>
              <a:t>W</a:t>
            </a:r>
            <a:r>
              <a:rPr lang="ko-KR" sz="2000">
                <a:solidFill>
                  <a:schemeClr val="accent4"/>
                </a:solidFill>
                <a:latin typeface="TW Cen MT"/>
                <a:ea typeface="Malgun Gothic"/>
              </a:rPr>
              <a:t>oman </a:t>
            </a:r>
            <a:r>
              <a:rPr lang="ko-KR" sz="2000" b="1">
                <a:solidFill>
                  <a:schemeClr val="accent4"/>
                </a:solidFill>
                <a:latin typeface="TW Cen MT"/>
                <a:ea typeface="Malgun Gothic"/>
              </a:rPr>
              <a:t>W</a:t>
            </a:r>
            <a:r>
              <a:rPr lang="ko-KR" sz="2000">
                <a:solidFill>
                  <a:schemeClr val="accent4"/>
                </a:solidFill>
                <a:latin typeface="TW Cen MT"/>
                <a:ea typeface="Malgun Gothic"/>
              </a:rPr>
              <a:t>ill</a:t>
            </a:r>
            <a:r>
              <a:rPr lang="ko-KR" altLang="en-US" sz="2000">
                <a:solidFill>
                  <a:schemeClr val="accent4"/>
                </a:solidFill>
                <a:latin typeface="TW Cen MT"/>
                <a:ea typeface="Malgun Gothic"/>
              </a:rPr>
              <a:t> </a:t>
            </a:r>
            <a:r>
              <a:rPr lang="ko-KR" sz="2000" b="1">
                <a:solidFill>
                  <a:schemeClr val="accent4"/>
                </a:solidFill>
                <a:latin typeface="TW Cen MT"/>
                <a:ea typeface="Malgun Gothic"/>
              </a:rPr>
              <a:t>W</a:t>
            </a:r>
            <a:r>
              <a:rPr lang="ko-KR" sz="2000">
                <a:solidFill>
                  <a:schemeClr val="accent4"/>
                </a:solidFill>
                <a:latin typeface="TW Cen MT"/>
                <a:ea typeface="Malgun Gothic"/>
              </a:rPr>
              <a:t>in</a:t>
            </a:r>
            <a:endParaRPr lang="en-US" altLang="ko-KR" sz="2000">
              <a:solidFill>
                <a:schemeClr val="accent4"/>
              </a:solidFill>
              <a:latin typeface="TW Cen MT"/>
              <a:ea typeface="바탕"/>
            </a:endParaRP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26484801-8D2B-4A81-B21C-021402E4069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616804" y="5340969"/>
            <a:ext cx="3676331" cy="58477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r"/>
            <a:r>
              <a:rPr lang="ko-KR" alt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  <a:cs typeface="+mn-lt"/>
              </a:rPr>
              <a:t>여성팀이 이길 것이라는 포부를 담았습니다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.</a:t>
            </a:r>
            <a:endParaRPr lang="ko-KR" altLang="en-US" sz="1600">
              <a:solidFill>
                <a:schemeClr val="tx1">
                  <a:lumMod val="75000"/>
                  <a:lumOff val="25000"/>
                </a:schemeClr>
              </a:solidFill>
              <a:latin typeface="Malgun Gothic"/>
              <a:ea typeface="Malgun Gothic"/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A6011631-B998-4204-A69C-ABFC931A6F8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633064" y="3630825"/>
            <a:ext cx="3000564" cy="33855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r"/>
            <a:r>
              <a:rPr lang="ko-KR" alt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전원 여성으로만</a:t>
            </a:r>
            <a:r>
              <a:rPr lang="en-US" altLang="ko-KR" sz="1600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</a:rPr>
              <a:t> </a:t>
            </a:r>
            <a:r>
              <a:rPr lang="ko-KR" sz="160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구성된</a:t>
            </a:r>
            <a:r>
              <a:rPr lang="en-US" altLang="ko-KR" sz="1600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</a:rPr>
              <a:t> </a:t>
            </a:r>
            <a:r>
              <a:rPr lang="ko-KR" sz="160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팀</a:t>
            </a:r>
            <a:endParaRPr lang="ko-KR" sz="1600">
              <a:solidFill>
                <a:schemeClr val="tx1">
                  <a:lumMod val="75000"/>
                  <a:lumOff val="25000"/>
                </a:schemeClr>
              </a:solidFill>
              <a:ea typeface="+mn-lt"/>
              <a:cs typeface="+mn-lt"/>
            </a:endParaRP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F72FFEF9-629F-46B2-84AE-C3F2458A510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633064" y="4425662"/>
            <a:ext cx="3000564" cy="58477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r"/>
            <a:r>
              <a:rPr lang="ko-KR" alt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필요한 정보를 검색할 수 있는 시스템이라는 의미와 함께</a:t>
            </a:r>
          </a:p>
        </p:txBody>
      </p:sp>
      <p:grpSp>
        <p:nvGrpSpPr>
          <p:cNvPr id="99" name="Group 98">
            <a:extLst>
              <a:ext uri="{FF2B5EF4-FFF2-40B4-BE49-F238E27FC236}">
                <a16:creationId xmlns:a16="http://schemas.microsoft.com/office/drawing/2014/main" id="{D3424BE9-692B-4E36-BC22-ED00297763ED}"/>
              </a:ext>
            </a:extLst>
          </p:cNvPr>
          <p:cNvGrpSpPr/>
          <p:nvPr/>
        </p:nvGrpSpPr>
        <p:grpSpPr>
          <a:xfrm>
            <a:off x="4962743" y="3592513"/>
            <a:ext cx="2266515" cy="1335768"/>
            <a:chOff x="501651" y="2093913"/>
            <a:chExt cx="5454649" cy="3214688"/>
          </a:xfrm>
          <a:solidFill>
            <a:schemeClr val="bg2">
              <a:lumMod val="90000"/>
            </a:schemeClr>
          </a:solidFill>
        </p:grpSpPr>
        <p:sp>
          <p:nvSpPr>
            <p:cNvPr id="100" name="Freeform 6">
              <a:extLst>
                <a:ext uri="{FF2B5EF4-FFF2-40B4-BE49-F238E27FC236}">
                  <a16:creationId xmlns:a16="http://schemas.microsoft.com/office/drawing/2014/main" id="{7D2EA86A-0058-471F-9A51-516AE0A8668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1651" y="2093913"/>
              <a:ext cx="1336675" cy="3214688"/>
            </a:xfrm>
            <a:custGeom>
              <a:avLst/>
              <a:gdLst>
                <a:gd name="T0" fmla="*/ 631 w 716"/>
                <a:gd name="T1" fmla="*/ 1609 h 1723"/>
                <a:gd name="T2" fmla="*/ 568 w 716"/>
                <a:gd name="T3" fmla="*/ 1516 h 1723"/>
                <a:gd name="T4" fmla="*/ 569 w 716"/>
                <a:gd name="T5" fmla="*/ 1333 h 1723"/>
                <a:gd name="T6" fmla="*/ 586 w 716"/>
                <a:gd name="T7" fmla="*/ 1213 h 1723"/>
                <a:gd name="T8" fmla="*/ 574 w 716"/>
                <a:gd name="T9" fmla="*/ 1098 h 1723"/>
                <a:gd name="T10" fmla="*/ 557 w 716"/>
                <a:gd name="T11" fmla="*/ 1017 h 1723"/>
                <a:gd name="T12" fmla="*/ 534 w 716"/>
                <a:gd name="T13" fmla="*/ 880 h 1723"/>
                <a:gd name="T14" fmla="*/ 562 w 716"/>
                <a:gd name="T15" fmla="*/ 796 h 1723"/>
                <a:gd name="T16" fmla="*/ 575 w 716"/>
                <a:gd name="T17" fmla="*/ 718 h 1723"/>
                <a:gd name="T18" fmla="*/ 576 w 716"/>
                <a:gd name="T19" fmla="*/ 630 h 1723"/>
                <a:gd name="T20" fmla="*/ 561 w 716"/>
                <a:gd name="T21" fmla="*/ 539 h 1723"/>
                <a:gd name="T22" fmla="*/ 521 w 716"/>
                <a:gd name="T23" fmla="*/ 387 h 1723"/>
                <a:gd name="T24" fmla="*/ 472 w 716"/>
                <a:gd name="T25" fmla="*/ 270 h 1723"/>
                <a:gd name="T26" fmla="*/ 349 w 716"/>
                <a:gd name="T27" fmla="*/ 243 h 1723"/>
                <a:gd name="T28" fmla="*/ 343 w 716"/>
                <a:gd name="T29" fmla="*/ 167 h 1723"/>
                <a:gd name="T30" fmla="*/ 348 w 716"/>
                <a:gd name="T31" fmla="*/ 101 h 1723"/>
                <a:gd name="T32" fmla="*/ 299 w 716"/>
                <a:gd name="T33" fmla="*/ 9 h 1723"/>
                <a:gd name="T34" fmla="*/ 198 w 716"/>
                <a:gd name="T35" fmla="*/ 57 h 1723"/>
                <a:gd name="T36" fmla="*/ 188 w 716"/>
                <a:gd name="T37" fmla="*/ 118 h 1723"/>
                <a:gd name="T38" fmla="*/ 212 w 716"/>
                <a:gd name="T39" fmla="*/ 220 h 1723"/>
                <a:gd name="T40" fmla="*/ 155 w 716"/>
                <a:gd name="T41" fmla="*/ 271 h 1723"/>
                <a:gd name="T42" fmla="*/ 42 w 716"/>
                <a:gd name="T43" fmla="*/ 330 h 1723"/>
                <a:gd name="T44" fmla="*/ 30 w 716"/>
                <a:gd name="T45" fmla="*/ 404 h 1723"/>
                <a:gd name="T46" fmla="*/ 20 w 716"/>
                <a:gd name="T47" fmla="*/ 499 h 1723"/>
                <a:gd name="T48" fmla="*/ 7 w 716"/>
                <a:gd name="T49" fmla="*/ 636 h 1723"/>
                <a:gd name="T50" fmla="*/ 23 w 716"/>
                <a:gd name="T51" fmla="*/ 721 h 1723"/>
                <a:gd name="T52" fmla="*/ 60 w 716"/>
                <a:gd name="T53" fmla="*/ 808 h 1723"/>
                <a:gd name="T54" fmla="*/ 83 w 716"/>
                <a:gd name="T55" fmla="*/ 857 h 1723"/>
                <a:gd name="T56" fmla="*/ 137 w 716"/>
                <a:gd name="T57" fmla="*/ 887 h 1723"/>
                <a:gd name="T58" fmla="*/ 153 w 716"/>
                <a:gd name="T59" fmla="*/ 955 h 1723"/>
                <a:gd name="T60" fmla="*/ 177 w 716"/>
                <a:gd name="T61" fmla="*/ 1127 h 1723"/>
                <a:gd name="T62" fmla="*/ 191 w 716"/>
                <a:gd name="T63" fmla="*/ 1281 h 1723"/>
                <a:gd name="T64" fmla="*/ 201 w 716"/>
                <a:gd name="T65" fmla="*/ 1394 h 1723"/>
                <a:gd name="T66" fmla="*/ 210 w 716"/>
                <a:gd name="T67" fmla="*/ 1495 h 1723"/>
                <a:gd name="T68" fmla="*/ 236 w 716"/>
                <a:gd name="T69" fmla="*/ 1598 h 1723"/>
                <a:gd name="T70" fmla="*/ 230 w 716"/>
                <a:gd name="T71" fmla="*/ 1646 h 1723"/>
                <a:gd name="T72" fmla="*/ 311 w 716"/>
                <a:gd name="T73" fmla="*/ 1696 h 1723"/>
                <a:gd name="T74" fmla="*/ 338 w 716"/>
                <a:gd name="T75" fmla="*/ 1589 h 1723"/>
                <a:gd name="T76" fmla="*/ 338 w 716"/>
                <a:gd name="T77" fmla="*/ 1467 h 1723"/>
                <a:gd name="T78" fmla="*/ 311 w 716"/>
                <a:gd name="T79" fmla="*/ 1326 h 1723"/>
                <a:gd name="T80" fmla="*/ 311 w 716"/>
                <a:gd name="T81" fmla="*/ 1235 h 1723"/>
                <a:gd name="T82" fmla="*/ 318 w 716"/>
                <a:gd name="T83" fmla="*/ 1152 h 1723"/>
                <a:gd name="T84" fmla="*/ 329 w 716"/>
                <a:gd name="T85" fmla="*/ 1037 h 1723"/>
                <a:gd name="T86" fmla="*/ 348 w 716"/>
                <a:gd name="T87" fmla="*/ 1001 h 1723"/>
                <a:gd name="T88" fmla="*/ 418 w 716"/>
                <a:gd name="T89" fmla="*/ 1243 h 1723"/>
                <a:gd name="T90" fmla="*/ 441 w 716"/>
                <a:gd name="T91" fmla="*/ 1366 h 1723"/>
                <a:gd name="T92" fmla="*/ 449 w 716"/>
                <a:gd name="T93" fmla="*/ 1466 h 1723"/>
                <a:gd name="T94" fmla="*/ 430 w 716"/>
                <a:gd name="T95" fmla="*/ 1584 h 1723"/>
                <a:gd name="T96" fmla="*/ 497 w 716"/>
                <a:gd name="T97" fmla="*/ 1653 h 1723"/>
                <a:gd name="T98" fmla="*/ 610 w 716"/>
                <a:gd name="T99" fmla="*/ 1664 h 1723"/>
                <a:gd name="T100" fmla="*/ 694 w 716"/>
                <a:gd name="T101" fmla="*/ 1657 h 1723"/>
                <a:gd name="T102" fmla="*/ 133 w 716"/>
                <a:gd name="T103" fmla="*/ 680 h 1723"/>
                <a:gd name="T104" fmla="*/ 113 w 716"/>
                <a:gd name="T105" fmla="*/ 663 h 1723"/>
                <a:gd name="T106" fmla="*/ 113 w 716"/>
                <a:gd name="T107" fmla="*/ 602 h 1723"/>
                <a:gd name="T108" fmla="*/ 127 w 716"/>
                <a:gd name="T109" fmla="*/ 585 h 1723"/>
                <a:gd name="T110" fmla="*/ 702 w 716"/>
                <a:gd name="T111" fmla="*/ 1652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16" h="1723">
                  <a:moveTo>
                    <a:pt x="706" y="1619"/>
                  </a:moveTo>
                  <a:cubicBezTo>
                    <a:pt x="696" y="1619"/>
                    <a:pt x="687" y="1619"/>
                    <a:pt x="677" y="1619"/>
                  </a:cubicBezTo>
                  <a:cubicBezTo>
                    <a:pt x="665" y="1619"/>
                    <a:pt x="654" y="1617"/>
                    <a:pt x="643" y="1613"/>
                  </a:cubicBezTo>
                  <a:cubicBezTo>
                    <a:pt x="639" y="1611"/>
                    <a:pt x="635" y="1610"/>
                    <a:pt x="631" y="1609"/>
                  </a:cubicBezTo>
                  <a:cubicBezTo>
                    <a:pt x="618" y="1606"/>
                    <a:pt x="606" y="1603"/>
                    <a:pt x="595" y="1594"/>
                  </a:cubicBezTo>
                  <a:cubicBezTo>
                    <a:pt x="595" y="1591"/>
                    <a:pt x="594" y="1587"/>
                    <a:pt x="591" y="1585"/>
                  </a:cubicBezTo>
                  <a:cubicBezTo>
                    <a:pt x="585" y="1580"/>
                    <a:pt x="582" y="1574"/>
                    <a:pt x="580" y="1566"/>
                  </a:cubicBezTo>
                  <a:cubicBezTo>
                    <a:pt x="577" y="1549"/>
                    <a:pt x="572" y="1533"/>
                    <a:pt x="568" y="1516"/>
                  </a:cubicBezTo>
                  <a:cubicBezTo>
                    <a:pt x="566" y="1510"/>
                    <a:pt x="564" y="1503"/>
                    <a:pt x="564" y="1497"/>
                  </a:cubicBezTo>
                  <a:cubicBezTo>
                    <a:pt x="563" y="1474"/>
                    <a:pt x="564" y="1450"/>
                    <a:pt x="562" y="1427"/>
                  </a:cubicBezTo>
                  <a:cubicBezTo>
                    <a:pt x="561" y="1409"/>
                    <a:pt x="563" y="1391"/>
                    <a:pt x="565" y="1373"/>
                  </a:cubicBezTo>
                  <a:cubicBezTo>
                    <a:pt x="567" y="1360"/>
                    <a:pt x="568" y="1347"/>
                    <a:pt x="569" y="1333"/>
                  </a:cubicBezTo>
                  <a:cubicBezTo>
                    <a:pt x="569" y="1322"/>
                    <a:pt x="568" y="1310"/>
                    <a:pt x="570" y="1299"/>
                  </a:cubicBezTo>
                  <a:cubicBezTo>
                    <a:pt x="572" y="1289"/>
                    <a:pt x="573" y="1280"/>
                    <a:pt x="574" y="1270"/>
                  </a:cubicBezTo>
                  <a:cubicBezTo>
                    <a:pt x="576" y="1260"/>
                    <a:pt x="578" y="1251"/>
                    <a:pt x="580" y="1241"/>
                  </a:cubicBezTo>
                  <a:cubicBezTo>
                    <a:pt x="582" y="1232"/>
                    <a:pt x="582" y="1222"/>
                    <a:pt x="586" y="1213"/>
                  </a:cubicBezTo>
                  <a:cubicBezTo>
                    <a:pt x="590" y="1202"/>
                    <a:pt x="590" y="1191"/>
                    <a:pt x="591" y="1181"/>
                  </a:cubicBezTo>
                  <a:cubicBezTo>
                    <a:pt x="593" y="1167"/>
                    <a:pt x="589" y="1154"/>
                    <a:pt x="585" y="1142"/>
                  </a:cubicBezTo>
                  <a:cubicBezTo>
                    <a:pt x="585" y="1139"/>
                    <a:pt x="584" y="1136"/>
                    <a:pt x="583" y="1133"/>
                  </a:cubicBezTo>
                  <a:cubicBezTo>
                    <a:pt x="581" y="1121"/>
                    <a:pt x="579" y="1109"/>
                    <a:pt x="574" y="1098"/>
                  </a:cubicBezTo>
                  <a:cubicBezTo>
                    <a:pt x="571" y="1092"/>
                    <a:pt x="570" y="1085"/>
                    <a:pt x="569" y="1079"/>
                  </a:cubicBezTo>
                  <a:cubicBezTo>
                    <a:pt x="566" y="1068"/>
                    <a:pt x="565" y="1057"/>
                    <a:pt x="560" y="1047"/>
                  </a:cubicBezTo>
                  <a:cubicBezTo>
                    <a:pt x="557" y="1042"/>
                    <a:pt x="555" y="1036"/>
                    <a:pt x="557" y="1029"/>
                  </a:cubicBezTo>
                  <a:cubicBezTo>
                    <a:pt x="558" y="1026"/>
                    <a:pt x="558" y="1021"/>
                    <a:pt x="557" y="1017"/>
                  </a:cubicBezTo>
                  <a:cubicBezTo>
                    <a:pt x="555" y="1007"/>
                    <a:pt x="553" y="998"/>
                    <a:pt x="551" y="988"/>
                  </a:cubicBezTo>
                  <a:cubicBezTo>
                    <a:pt x="550" y="984"/>
                    <a:pt x="550" y="980"/>
                    <a:pt x="551" y="977"/>
                  </a:cubicBezTo>
                  <a:cubicBezTo>
                    <a:pt x="554" y="964"/>
                    <a:pt x="552" y="952"/>
                    <a:pt x="545" y="943"/>
                  </a:cubicBezTo>
                  <a:cubicBezTo>
                    <a:pt x="541" y="922"/>
                    <a:pt x="538" y="902"/>
                    <a:pt x="534" y="880"/>
                  </a:cubicBezTo>
                  <a:cubicBezTo>
                    <a:pt x="536" y="876"/>
                    <a:pt x="539" y="871"/>
                    <a:pt x="542" y="866"/>
                  </a:cubicBezTo>
                  <a:cubicBezTo>
                    <a:pt x="547" y="855"/>
                    <a:pt x="554" y="845"/>
                    <a:pt x="556" y="832"/>
                  </a:cubicBezTo>
                  <a:cubicBezTo>
                    <a:pt x="557" y="827"/>
                    <a:pt x="558" y="822"/>
                    <a:pt x="559" y="817"/>
                  </a:cubicBezTo>
                  <a:cubicBezTo>
                    <a:pt x="561" y="810"/>
                    <a:pt x="562" y="803"/>
                    <a:pt x="562" y="796"/>
                  </a:cubicBezTo>
                  <a:cubicBezTo>
                    <a:pt x="562" y="793"/>
                    <a:pt x="563" y="790"/>
                    <a:pt x="563" y="788"/>
                  </a:cubicBezTo>
                  <a:cubicBezTo>
                    <a:pt x="568" y="776"/>
                    <a:pt x="569" y="763"/>
                    <a:pt x="564" y="751"/>
                  </a:cubicBezTo>
                  <a:cubicBezTo>
                    <a:pt x="561" y="744"/>
                    <a:pt x="562" y="738"/>
                    <a:pt x="568" y="733"/>
                  </a:cubicBezTo>
                  <a:cubicBezTo>
                    <a:pt x="572" y="729"/>
                    <a:pt x="575" y="724"/>
                    <a:pt x="575" y="718"/>
                  </a:cubicBezTo>
                  <a:cubicBezTo>
                    <a:pt x="576" y="710"/>
                    <a:pt x="577" y="703"/>
                    <a:pt x="579" y="695"/>
                  </a:cubicBezTo>
                  <a:cubicBezTo>
                    <a:pt x="579" y="692"/>
                    <a:pt x="580" y="688"/>
                    <a:pt x="580" y="685"/>
                  </a:cubicBezTo>
                  <a:cubicBezTo>
                    <a:pt x="580" y="678"/>
                    <a:pt x="579" y="670"/>
                    <a:pt x="578" y="663"/>
                  </a:cubicBezTo>
                  <a:cubicBezTo>
                    <a:pt x="578" y="652"/>
                    <a:pt x="577" y="641"/>
                    <a:pt x="576" y="630"/>
                  </a:cubicBezTo>
                  <a:cubicBezTo>
                    <a:pt x="575" y="628"/>
                    <a:pt x="576" y="625"/>
                    <a:pt x="576" y="623"/>
                  </a:cubicBezTo>
                  <a:cubicBezTo>
                    <a:pt x="578" y="611"/>
                    <a:pt x="581" y="599"/>
                    <a:pt x="580" y="586"/>
                  </a:cubicBezTo>
                  <a:cubicBezTo>
                    <a:pt x="580" y="580"/>
                    <a:pt x="579" y="574"/>
                    <a:pt x="576" y="569"/>
                  </a:cubicBezTo>
                  <a:cubicBezTo>
                    <a:pt x="571" y="559"/>
                    <a:pt x="566" y="549"/>
                    <a:pt x="561" y="539"/>
                  </a:cubicBezTo>
                  <a:cubicBezTo>
                    <a:pt x="559" y="535"/>
                    <a:pt x="557" y="531"/>
                    <a:pt x="556" y="526"/>
                  </a:cubicBezTo>
                  <a:cubicBezTo>
                    <a:pt x="554" y="516"/>
                    <a:pt x="553" y="505"/>
                    <a:pt x="551" y="494"/>
                  </a:cubicBezTo>
                  <a:cubicBezTo>
                    <a:pt x="547" y="478"/>
                    <a:pt x="544" y="461"/>
                    <a:pt x="539" y="446"/>
                  </a:cubicBezTo>
                  <a:cubicBezTo>
                    <a:pt x="534" y="426"/>
                    <a:pt x="527" y="406"/>
                    <a:pt x="521" y="387"/>
                  </a:cubicBezTo>
                  <a:cubicBezTo>
                    <a:pt x="515" y="367"/>
                    <a:pt x="509" y="347"/>
                    <a:pt x="504" y="327"/>
                  </a:cubicBezTo>
                  <a:cubicBezTo>
                    <a:pt x="500" y="311"/>
                    <a:pt x="494" y="296"/>
                    <a:pt x="487" y="280"/>
                  </a:cubicBezTo>
                  <a:cubicBezTo>
                    <a:pt x="485" y="278"/>
                    <a:pt x="483" y="275"/>
                    <a:pt x="481" y="273"/>
                  </a:cubicBezTo>
                  <a:cubicBezTo>
                    <a:pt x="479" y="270"/>
                    <a:pt x="475" y="268"/>
                    <a:pt x="472" y="270"/>
                  </a:cubicBezTo>
                  <a:cubicBezTo>
                    <a:pt x="468" y="272"/>
                    <a:pt x="465" y="270"/>
                    <a:pt x="461" y="269"/>
                  </a:cubicBezTo>
                  <a:cubicBezTo>
                    <a:pt x="458" y="267"/>
                    <a:pt x="454" y="266"/>
                    <a:pt x="451" y="264"/>
                  </a:cubicBezTo>
                  <a:cubicBezTo>
                    <a:pt x="434" y="259"/>
                    <a:pt x="417" y="255"/>
                    <a:pt x="400" y="253"/>
                  </a:cubicBezTo>
                  <a:cubicBezTo>
                    <a:pt x="383" y="250"/>
                    <a:pt x="366" y="247"/>
                    <a:pt x="349" y="243"/>
                  </a:cubicBezTo>
                  <a:cubicBezTo>
                    <a:pt x="345" y="242"/>
                    <a:pt x="341" y="239"/>
                    <a:pt x="338" y="236"/>
                  </a:cubicBezTo>
                  <a:cubicBezTo>
                    <a:pt x="334" y="233"/>
                    <a:pt x="332" y="229"/>
                    <a:pt x="329" y="226"/>
                  </a:cubicBezTo>
                  <a:cubicBezTo>
                    <a:pt x="328" y="211"/>
                    <a:pt x="329" y="202"/>
                    <a:pt x="340" y="168"/>
                  </a:cubicBezTo>
                  <a:cubicBezTo>
                    <a:pt x="341" y="168"/>
                    <a:pt x="342" y="167"/>
                    <a:pt x="343" y="167"/>
                  </a:cubicBezTo>
                  <a:cubicBezTo>
                    <a:pt x="349" y="164"/>
                    <a:pt x="350" y="162"/>
                    <a:pt x="349" y="155"/>
                  </a:cubicBezTo>
                  <a:cubicBezTo>
                    <a:pt x="349" y="154"/>
                    <a:pt x="349" y="152"/>
                    <a:pt x="350" y="151"/>
                  </a:cubicBezTo>
                  <a:cubicBezTo>
                    <a:pt x="350" y="147"/>
                    <a:pt x="351" y="142"/>
                    <a:pt x="351" y="138"/>
                  </a:cubicBezTo>
                  <a:cubicBezTo>
                    <a:pt x="351" y="126"/>
                    <a:pt x="350" y="113"/>
                    <a:pt x="348" y="101"/>
                  </a:cubicBezTo>
                  <a:cubicBezTo>
                    <a:pt x="347" y="91"/>
                    <a:pt x="346" y="80"/>
                    <a:pt x="344" y="70"/>
                  </a:cubicBezTo>
                  <a:cubicBezTo>
                    <a:pt x="342" y="58"/>
                    <a:pt x="337" y="47"/>
                    <a:pt x="332" y="36"/>
                  </a:cubicBezTo>
                  <a:cubicBezTo>
                    <a:pt x="329" y="30"/>
                    <a:pt x="324" y="25"/>
                    <a:pt x="319" y="21"/>
                  </a:cubicBezTo>
                  <a:cubicBezTo>
                    <a:pt x="313" y="17"/>
                    <a:pt x="306" y="13"/>
                    <a:pt x="299" y="9"/>
                  </a:cubicBezTo>
                  <a:cubicBezTo>
                    <a:pt x="291" y="5"/>
                    <a:pt x="283" y="0"/>
                    <a:pt x="273" y="3"/>
                  </a:cubicBezTo>
                  <a:cubicBezTo>
                    <a:pt x="260" y="1"/>
                    <a:pt x="249" y="7"/>
                    <a:pt x="239" y="13"/>
                  </a:cubicBezTo>
                  <a:cubicBezTo>
                    <a:pt x="229" y="19"/>
                    <a:pt x="219" y="25"/>
                    <a:pt x="210" y="34"/>
                  </a:cubicBezTo>
                  <a:cubicBezTo>
                    <a:pt x="204" y="41"/>
                    <a:pt x="199" y="48"/>
                    <a:pt x="198" y="57"/>
                  </a:cubicBezTo>
                  <a:cubicBezTo>
                    <a:pt x="197" y="64"/>
                    <a:pt x="196" y="71"/>
                    <a:pt x="194" y="78"/>
                  </a:cubicBezTo>
                  <a:cubicBezTo>
                    <a:pt x="192" y="88"/>
                    <a:pt x="192" y="98"/>
                    <a:pt x="195" y="108"/>
                  </a:cubicBezTo>
                  <a:cubicBezTo>
                    <a:pt x="193" y="109"/>
                    <a:pt x="191" y="109"/>
                    <a:pt x="189" y="109"/>
                  </a:cubicBezTo>
                  <a:cubicBezTo>
                    <a:pt x="189" y="112"/>
                    <a:pt x="188" y="115"/>
                    <a:pt x="188" y="118"/>
                  </a:cubicBezTo>
                  <a:cubicBezTo>
                    <a:pt x="189" y="125"/>
                    <a:pt x="190" y="133"/>
                    <a:pt x="190" y="140"/>
                  </a:cubicBezTo>
                  <a:cubicBezTo>
                    <a:pt x="189" y="151"/>
                    <a:pt x="195" y="160"/>
                    <a:pt x="200" y="168"/>
                  </a:cubicBezTo>
                  <a:cubicBezTo>
                    <a:pt x="203" y="168"/>
                    <a:pt x="205" y="168"/>
                    <a:pt x="207" y="168"/>
                  </a:cubicBezTo>
                  <a:cubicBezTo>
                    <a:pt x="212" y="185"/>
                    <a:pt x="214" y="202"/>
                    <a:pt x="212" y="220"/>
                  </a:cubicBezTo>
                  <a:cubicBezTo>
                    <a:pt x="209" y="223"/>
                    <a:pt x="205" y="227"/>
                    <a:pt x="202" y="230"/>
                  </a:cubicBezTo>
                  <a:cubicBezTo>
                    <a:pt x="200" y="234"/>
                    <a:pt x="198" y="238"/>
                    <a:pt x="197" y="242"/>
                  </a:cubicBezTo>
                  <a:cubicBezTo>
                    <a:pt x="194" y="251"/>
                    <a:pt x="188" y="257"/>
                    <a:pt x="179" y="261"/>
                  </a:cubicBezTo>
                  <a:cubicBezTo>
                    <a:pt x="171" y="264"/>
                    <a:pt x="163" y="268"/>
                    <a:pt x="155" y="271"/>
                  </a:cubicBezTo>
                  <a:cubicBezTo>
                    <a:pt x="139" y="278"/>
                    <a:pt x="122" y="286"/>
                    <a:pt x="106" y="292"/>
                  </a:cubicBezTo>
                  <a:cubicBezTo>
                    <a:pt x="90" y="298"/>
                    <a:pt x="75" y="306"/>
                    <a:pt x="61" y="317"/>
                  </a:cubicBezTo>
                  <a:cubicBezTo>
                    <a:pt x="60" y="317"/>
                    <a:pt x="59" y="317"/>
                    <a:pt x="58" y="317"/>
                  </a:cubicBezTo>
                  <a:cubicBezTo>
                    <a:pt x="49" y="317"/>
                    <a:pt x="45" y="321"/>
                    <a:pt x="42" y="330"/>
                  </a:cubicBezTo>
                  <a:cubicBezTo>
                    <a:pt x="39" y="342"/>
                    <a:pt x="38" y="354"/>
                    <a:pt x="37" y="366"/>
                  </a:cubicBezTo>
                  <a:cubicBezTo>
                    <a:pt x="36" y="369"/>
                    <a:pt x="37" y="372"/>
                    <a:pt x="37" y="374"/>
                  </a:cubicBezTo>
                  <a:cubicBezTo>
                    <a:pt x="37" y="378"/>
                    <a:pt x="38" y="382"/>
                    <a:pt x="37" y="386"/>
                  </a:cubicBezTo>
                  <a:cubicBezTo>
                    <a:pt x="35" y="392"/>
                    <a:pt x="32" y="398"/>
                    <a:pt x="30" y="404"/>
                  </a:cubicBezTo>
                  <a:cubicBezTo>
                    <a:pt x="26" y="416"/>
                    <a:pt x="23" y="427"/>
                    <a:pt x="27" y="439"/>
                  </a:cubicBezTo>
                  <a:cubicBezTo>
                    <a:pt x="27" y="441"/>
                    <a:pt x="27" y="443"/>
                    <a:pt x="27" y="445"/>
                  </a:cubicBezTo>
                  <a:cubicBezTo>
                    <a:pt x="25" y="458"/>
                    <a:pt x="23" y="471"/>
                    <a:pt x="22" y="483"/>
                  </a:cubicBezTo>
                  <a:cubicBezTo>
                    <a:pt x="21" y="488"/>
                    <a:pt x="20" y="494"/>
                    <a:pt x="20" y="499"/>
                  </a:cubicBezTo>
                  <a:cubicBezTo>
                    <a:pt x="17" y="517"/>
                    <a:pt x="14" y="534"/>
                    <a:pt x="12" y="552"/>
                  </a:cubicBezTo>
                  <a:cubicBezTo>
                    <a:pt x="11" y="563"/>
                    <a:pt x="10" y="575"/>
                    <a:pt x="8" y="586"/>
                  </a:cubicBezTo>
                  <a:cubicBezTo>
                    <a:pt x="6" y="599"/>
                    <a:pt x="6" y="611"/>
                    <a:pt x="9" y="624"/>
                  </a:cubicBezTo>
                  <a:cubicBezTo>
                    <a:pt x="11" y="629"/>
                    <a:pt x="10" y="633"/>
                    <a:pt x="7" y="636"/>
                  </a:cubicBezTo>
                  <a:cubicBezTo>
                    <a:pt x="2" y="641"/>
                    <a:pt x="0" y="647"/>
                    <a:pt x="0" y="654"/>
                  </a:cubicBezTo>
                  <a:cubicBezTo>
                    <a:pt x="0" y="660"/>
                    <a:pt x="2" y="665"/>
                    <a:pt x="4" y="670"/>
                  </a:cubicBezTo>
                  <a:cubicBezTo>
                    <a:pt x="6" y="680"/>
                    <a:pt x="9" y="690"/>
                    <a:pt x="11" y="700"/>
                  </a:cubicBezTo>
                  <a:cubicBezTo>
                    <a:pt x="13" y="708"/>
                    <a:pt x="18" y="715"/>
                    <a:pt x="23" y="721"/>
                  </a:cubicBezTo>
                  <a:cubicBezTo>
                    <a:pt x="28" y="726"/>
                    <a:pt x="32" y="731"/>
                    <a:pt x="33" y="738"/>
                  </a:cubicBezTo>
                  <a:cubicBezTo>
                    <a:pt x="35" y="749"/>
                    <a:pt x="39" y="759"/>
                    <a:pt x="44" y="769"/>
                  </a:cubicBezTo>
                  <a:cubicBezTo>
                    <a:pt x="46" y="774"/>
                    <a:pt x="48" y="780"/>
                    <a:pt x="49" y="786"/>
                  </a:cubicBezTo>
                  <a:cubicBezTo>
                    <a:pt x="51" y="795"/>
                    <a:pt x="54" y="802"/>
                    <a:pt x="60" y="808"/>
                  </a:cubicBezTo>
                  <a:cubicBezTo>
                    <a:pt x="67" y="816"/>
                    <a:pt x="74" y="824"/>
                    <a:pt x="73" y="836"/>
                  </a:cubicBezTo>
                  <a:cubicBezTo>
                    <a:pt x="73" y="837"/>
                    <a:pt x="74" y="839"/>
                    <a:pt x="74" y="840"/>
                  </a:cubicBezTo>
                  <a:cubicBezTo>
                    <a:pt x="75" y="842"/>
                    <a:pt x="77" y="844"/>
                    <a:pt x="77" y="845"/>
                  </a:cubicBezTo>
                  <a:cubicBezTo>
                    <a:pt x="77" y="851"/>
                    <a:pt x="80" y="853"/>
                    <a:pt x="83" y="857"/>
                  </a:cubicBezTo>
                  <a:cubicBezTo>
                    <a:pt x="96" y="869"/>
                    <a:pt x="109" y="881"/>
                    <a:pt x="121" y="894"/>
                  </a:cubicBezTo>
                  <a:cubicBezTo>
                    <a:pt x="123" y="895"/>
                    <a:pt x="125" y="896"/>
                    <a:pt x="127" y="898"/>
                  </a:cubicBezTo>
                  <a:cubicBezTo>
                    <a:pt x="129" y="893"/>
                    <a:pt x="131" y="889"/>
                    <a:pt x="132" y="885"/>
                  </a:cubicBezTo>
                  <a:cubicBezTo>
                    <a:pt x="134" y="886"/>
                    <a:pt x="136" y="887"/>
                    <a:pt x="137" y="887"/>
                  </a:cubicBezTo>
                  <a:cubicBezTo>
                    <a:pt x="139" y="886"/>
                    <a:pt x="140" y="885"/>
                    <a:pt x="142" y="884"/>
                  </a:cubicBezTo>
                  <a:cubicBezTo>
                    <a:pt x="143" y="906"/>
                    <a:pt x="143" y="928"/>
                    <a:pt x="142" y="951"/>
                  </a:cubicBezTo>
                  <a:cubicBezTo>
                    <a:pt x="146" y="948"/>
                    <a:pt x="149" y="946"/>
                    <a:pt x="152" y="945"/>
                  </a:cubicBezTo>
                  <a:cubicBezTo>
                    <a:pt x="152" y="949"/>
                    <a:pt x="153" y="952"/>
                    <a:pt x="153" y="955"/>
                  </a:cubicBezTo>
                  <a:cubicBezTo>
                    <a:pt x="155" y="969"/>
                    <a:pt x="156" y="982"/>
                    <a:pt x="157" y="995"/>
                  </a:cubicBezTo>
                  <a:cubicBezTo>
                    <a:pt x="158" y="1009"/>
                    <a:pt x="158" y="1022"/>
                    <a:pt x="159" y="1036"/>
                  </a:cubicBezTo>
                  <a:cubicBezTo>
                    <a:pt x="161" y="1048"/>
                    <a:pt x="163" y="1061"/>
                    <a:pt x="165" y="1074"/>
                  </a:cubicBezTo>
                  <a:cubicBezTo>
                    <a:pt x="168" y="1092"/>
                    <a:pt x="171" y="1110"/>
                    <a:pt x="177" y="1127"/>
                  </a:cubicBezTo>
                  <a:cubicBezTo>
                    <a:pt x="182" y="1139"/>
                    <a:pt x="183" y="1151"/>
                    <a:pt x="183" y="1164"/>
                  </a:cubicBezTo>
                  <a:cubicBezTo>
                    <a:pt x="184" y="1177"/>
                    <a:pt x="184" y="1191"/>
                    <a:pt x="185" y="1204"/>
                  </a:cubicBezTo>
                  <a:cubicBezTo>
                    <a:pt x="186" y="1216"/>
                    <a:pt x="189" y="1227"/>
                    <a:pt x="190" y="1239"/>
                  </a:cubicBezTo>
                  <a:cubicBezTo>
                    <a:pt x="191" y="1253"/>
                    <a:pt x="191" y="1267"/>
                    <a:pt x="191" y="1281"/>
                  </a:cubicBezTo>
                  <a:cubicBezTo>
                    <a:pt x="192" y="1290"/>
                    <a:pt x="192" y="1299"/>
                    <a:pt x="193" y="1307"/>
                  </a:cubicBezTo>
                  <a:cubicBezTo>
                    <a:pt x="194" y="1316"/>
                    <a:pt x="196" y="1326"/>
                    <a:pt x="196" y="1335"/>
                  </a:cubicBezTo>
                  <a:cubicBezTo>
                    <a:pt x="196" y="1350"/>
                    <a:pt x="197" y="1364"/>
                    <a:pt x="199" y="1379"/>
                  </a:cubicBezTo>
                  <a:cubicBezTo>
                    <a:pt x="200" y="1384"/>
                    <a:pt x="201" y="1389"/>
                    <a:pt x="201" y="1394"/>
                  </a:cubicBezTo>
                  <a:cubicBezTo>
                    <a:pt x="202" y="1404"/>
                    <a:pt x="202" y="1414"/>
                    <a:pt x="203" y="1424"/>
                  </a:cubicBezTo>
                  <a:cubicBezTo>
                    <a:pt x="203" y="1431"/>
                    <a:pt x="204" y="1438"/>
                    <a:pt x="205" y="1445"/>
                  </a:cubicBezTo>
                  <a:cubicBezTo>
                    <a:pt x="206" y="1454"/>
                    <a:pt x="207" y="1463"/>
                    <a:pt x="208" y="1472"/>
                  </a:cubicBezTo>
                  <a:cubicBezTo>
                    <a:pt x="208" y="1480"/>
                    <a:pt x="209" y="1488"/>
                    <a:pt x="210" y="1495"/>
                  </a:cubicBezTo>
                  <a:cubicBezTo>
                    <a:pt x="210" y="1501"/>
                    <a:pt x="211" y="1507"/>
                    <a:pt x="211" y="1512"/>
                  </a:cubicBezTo>
                  <a:cubicBezTo>
                    <a:pt x="212" y="1521"/>
                    <a:pt x="214" y="1530"/>
                    <a:pt x="214" y="1539"/>
                  </a:cubicBezTo>
                  <a:cubicBezTo>
                    <a:pt x="214" y="1544"/>
                    <a:pt x="215" y="1549"/>
                    <a:pt x="217" y="1554"/>
                  </a:cubicBezTo>
                  <a:cubicBezTo>
                    <a:pt x="223" y="1569"/>
                    <a:pt x="230" y="1583"/>
                    <a:pt x="236" y="1598"/>
                  </a:cubicBezTo>
                  <a:cubicBezTo>
                    <a:pt x="238" y="1605"/>
                    <a:pt x="241" y="1610"/>
                    <a:pt x="249" y="1612"/>
                  </a:cubicBezTo>
                  <a:cubicBezTo>
                    <a:pt x="249" y="1612"/>
                    <a:pt x="249" y="1613"/>
                    <a:pt x="250" y="1614"/>
                  </a:cubicBezTo>
                  <a:cubicBezTo>
                    <a:pt x="251" y="1615"/>
                    <a:pt x="239" y="1632"/>
                    <a:pt x="238" y="1633"/>
                  </a:cubicBezTo>
                  <a:cubicBezTo>
                    <a:pt x="235" y="1637"/>
                    <a:pt x="232" y="1642"/>
                    <a:pt x="230" y="1646"/>
                  </a:cubicBezTo>
                  <a:cubicBezTo>
                    <a:pt x="226" y="1651"/>
                    <a:pt x="226" y="1656"/>
                    <a:pt x="225" y="1663"/>
                  </a:cubicBezTo>
                  <a:cubicBezTo>
                    <a:pt x="224" y="1667"/>
                    <a:pt x="223" y="1672"/>
                    <a:pt x="223" y="1676"/>
                  </a:cubicBezTo>
                  <a:cubicBezTo>
                    <a:pt x="223" y="1684"/>
                    <a:pt x="225" y="1692"/>
                    <a:pt x="230" y="1698"/>
                  </a:cubicBezTo>
                  <a:cubicBezTo>
                    <a:pt x="249" y="1723"/>
                    <a:pt x="294" y="1721"/>
                    <a:pt x="311" y="1696"/>
                  </a:cubicBezTo>
                  <a:cubicBezTo>
                    <a:pt x="327" y="1674"/>
                    <a:pt x="326" y="1642"/>
                    <a:pt x="326" y="1616"/>
                  </a:cubicBezTo>
                  <a:cubicBezTo>
                    <a:pt x="326" y="1616"/>
                    <a:pt x="326" y="1616"/>
                    <a:pt x="327" y="1616"/>
                  </a:cubicBezTo>
                  <a:cubicBezTo>
                    <a:pt x="326" y="1611"/>
                    <a:pt x="328" y="1607"/>
                    <a:pt x="331" y="1603"/>
                  </a:cubicBezTo>
                  <a:cubicBezTo>
                    <a:pt x="334" y="1598"/>
                    <a:pt x="335" y="1593"/>
                    <a:pt x="338" y="1589"/>
                  </a:cubicBezTo>
                  <a:cubicBezTo>
                    <a:pt x="343" y="1582"/>
                    <a:pt x="346" y="1573"/>
                    <a:pt x="347" y="1564"/>
                  </a:cubicBezTo>
                  <a:cubicBezTo>
                    <a:pt x="348" y="1558"/>
                    <a:pt x="347" y="1551"/>
                    <a:pt x="349" y="1544"/>
                  </a:cubicBezTo>
                  <a:cubicBezTo>
                    <a:pt x="351" y="1533"/>
                    <a:pt x="350" y="1522"/>
                    <a:pt x="348" y="1511"/>
                  </a:cubicBezTo>
                  <a:cubicBezTo>
                    <a:pt x="345" y="1496"/>
                    <a:pt x="341" y="1482"/>
                    <a:pt x="338" y="1467"/>
                  </a:cubicBezTo>
                  <a:cubicBezTo>
                    <a:pt x="332" y="1445"/>
                    <a:pt x="323" y="1423"/>
                    <a:pt x="315" y="1401"/>
                  </a:cubicBezTo>
                  <a:cubicBezTo>
                    <a:pt x="313" y="1398"/>
                    <a:pt x="313" y="1394"/>
                    <a:pt x="313" y="1391"/>
                  </a:cubicBezTo>
                  <a:cubicBezTo>
                    <a:pt x="312" y="1381"/>
                    <a:pt x="314" y="1371"/>
                    <a:pt x="313" y="1360"/>
                  </a:cubicBezTo>
                  <a:cubicBezTo>
                    <a:pt x="311" y="1349"/>
                    <a:pt x="313" y="1337"/>
                    <a:pt x="311" y="1326"/>
                  </a:cubicBezTo>
                  <a:cubicBezTo>
                    <a:pt x="310" y="1316"/>
                    <a:pt x="309" y="1307"/>
                    <a:pt x="307" y="1298"/>
                  </a:cubicBezTo>
                  <a:cubicBezTo>
                    <a:pt x="306" y="1294"/>
                    <a:pt x="306" y="1291"/>
                    <a:pt x="308" y="1287"/>
                  </a:cubicBezTo>
                  <a:cubicBezTo>
                    <a:pt x="310" y="1282"/>
                    <a:pt x="312" y="1277"/>
                    <a:pt x="312" y="1272"/>
                  </a:cubicBezTo>
                  <a:cubicBezTo>
                    <a:pt x="312" y="1259"/>
                    <a:pt x="311" y="1247"/>
                    <a:pt x="311" y="1235"/>
                  </a:cubicBezTo>
                  <a:cubicBezTo>
                    <a:pt x="311" y="1232"/>
                    <a:pt x="311" y="1230"/>
                    <a:pt x="312" y="1227"/>
                  </a:cubicBezTo>
                  <a:cubicBezTo>
                    <a:pt x="315" y="1215"/>
                    <a:pt x="314" y="1201"/>
                    <a:pt x="316" y="1189"/>
                  </a:cubicBezTo>
                  <a:cubicBezTo>
                    <a:pt x="317" y="1177"/>
                    <a:pt x="317" y="1165"/>
                    <a:pt x="317" y="1154"/>
                  </a:cubicBezTo>
                  <a:cubicBezTo>
                    <a:pt x="318" y="1153"/>
                    <a:pt x="318" y="1153"/>
                    <a:pt x="318" y="1152"/>
                  </a:cubicBezTo>
                  <a:cubicBezTo>
                    <a:pt x="319" y="1142"/>
                    <a:pt x="320" y="1132"/>
                    <a:pt x="321" y="1122"/>
                  </a:cubicBezTo>
                  <a:cubicBezTo>
                    <a:pt x="321" y="1107"/>
                    <a:pt x="322" y="1092"/>
                    <a:pt x="322" y="1077"/>
                  </a:cubicBezTo>
                  <a:cubicBezTo>
                    <a:pt x="322" y="1075"/>
                    <a:pt x="323" y="1073"/>
                    <a:pt x="323" y="1071"/>
                  </a:cubicBezTo>
                  <a:cubicBezTo>
                    <a:pt x="326" y="1060"/>
                    <a:pt x="328" y="1049"/>
                    <a:pt x="329" y="1037"/>
                  </a:cubicBezTo>
                  <a:cubicBezTo>
                    <a:pt x="330" y="1024"/>
                    <a:pt x="330" y="1011"/>
                    <a:pt x="335" y="998"/>
                  </a:cubicBezTo>
                  <a:cubicBezTo>
                    <a:pt x="335" y="996"/>
                    <a:pt x="335" y="995"/>
                    <a:pt x="335" y="993"/>
                  </a:cubicBezTo>
                  <a:cubicBezTo>
                    <a:pt x="337" y="988"/>
                    <a:pt x="336" y="983"/>
                    <a:pt x="339" y="978"/>
                  </a:cubicBezTo>
                  <a:cubicBezTo>
                    <a:pt x="342" y="986"/>
                    <a:pt x="345" y="994"/>
                    <a:pt x="348" y="1001"/>
                  </a:cubicBezTo>
                  <a:cubicBezTo>
                    <a:pt x="356" y="1025"/>
                    <a:pt x="364" y="1049"/>
                    <a:pt x="372" y="1073"/>
                  </a:cubicBezTo>
                  <a:cubicBezTo>
                    <a:pt x="384" y="1107"/>
                    <a:pt x="395" y="1142"/>
                    <a:pt x="403" y="1177"/>
                  </a:cubicBezTo>
                  <a:cubicBezTo>
                    <a:pt x="408" y="1197"/>
                    <a:pt x="413" y="1217"/>
                    <a:pt x="418" y="1237"/>
                  </a:cubicBezTo>
                  <a:cubicBezTo>
                    <a:pt x="418" y="1239"/>
                    <a:pt x="419" y="1241"/>
                    <a:pt x="418" y="1243"/>
                  </a:cubicBezTo>
                  <a:cubicBezTo>
                    <a:pt x="415" y="1253"/>
                    <a:pt x="417" y="1263"/>
                    <a:pt x="420" y="1273"/>
                  </a:cubicBezTo>
                  <a:cubicBezTo>
                    <a:pt x="426" y="1294"/>
                    <a:pt x="433" y="1315"/>
                    <a:pt x="440" y="1337"/>
                  </a:cubicBezTo>
                  <a:cubicBezTo>
                    <a:pt x="441" y="1340"/>
                    <a:pt x="441" y="1343"/>
                    <a:pt x="441" y="1346"/>
                  </a:cubicBezTo>
                  <a:cubicBezTo>
                    <a:pt x="439" y="1353"/>
                    <a:pt x="440" y="1360"/>
                    <a:pt x="441" y="1366"/>
                  </a:cubicBezTo>
                  <a:cubicBezTo>
                    <a:pt x="442" y="1377"/>
                    <a:pt x="442" y="1388"/>
                    <a:pt x="443" y="1399"/>
                  </a:cubicBezTo>
                  <a:cubicBezTo>
                    <a:pt x="443" y="1400"/>
                    <a:pt x="443" y="1402"/>
                    <a:pt x="443" y="1403"/>
                  </a:cubicBezTo>
                  <a:cubicBezTo>
                    <a:pt x="444" y="1413"/>
                    <a:pt x="446" y="1422"/>
                    <a:pt x="446" y="1432"/>
                  </a:cubicBezTo>
                  <a:cubicBezTo>
                    <a:pt x="446" y="1443"/>
                    <a:pt x="447" y="1455"/>
                    <a:pt x="449" y="1466"/>
                  </a:cubicBezTo>
                  <a:cubicBezTo>
                    <a:pt x="450" y="1474"/>
                    <a:pt x="450" y="1482"/>
                    <a:pt x="448" y="1489"/>
                  </a:cubicBezTo>
                  <a:cubicBezTo>
                    <a:pt x="445" y="1501"/>
                    <a:pt x="442" y="1513"/>
                    <a:pt x="440" y="1525"/>
                  </a:cubicBezTo>
                  <a:cubicBezTo>
                    <a:pt x="439" y="1536"/>
                    <a:pt x="435" y="1547"/>
                    <a:pt x="433" y="1558"/>
                  </a:cubicBezTo>
                  <a:cubicBezTo>
                    <a:pt x="432" y="1567"/>
                    <a:pt x="430" y="1576"/>
                    <a:pt x="430" y="1584"/>
                  </a:cubicBezTo>
                  <a:cubicBezTo>
                    <a:pt x="429" y="1602"/>
                    <a:pt x="430" y="1619"/>
                    <a:pt x="430" y="1636"/>
                  </a:cubicBezTo>
                  <a:cubicBezTo>
                    <a:pt x="430" y="1638"/>
                    <a:pt x="430" y="1641"/>
                    <a:pt x="430" y="1642"/>
                  </a:cubicBezTo>
                  <a:cubicBezTo>
                    <a:pt x="434" y="1647"/>
                    <a:pt x="439" y="1649"/>
                    <a:pt x="444" y="1649"/>
                  </a:cubicBezTo>
                  <a:cubicBezTo>
                    <a:pt x="462" y="1652"/>
                    <a:pt x="479" y="1653"/>
                    <a:pt x="497" y="1653"/>
                  </a:cubicBezTo>
                  <a:cubicBezTo>
                    <a:pt x="498" y="1653"/>
                    <a:pt x="500" y="1653"/>
                    <a:pt x="501" y="1652"/>
                  </a:cubicBezTo>
                  <a:cubicBezTo>
                    <a:pt x="504" y="1649"/>
                    <a:pt x="509" y="1649"/>
                    <a:pt x="513" y="1649"/>
                  </a:cubicBezTo>
                  <a:cubicBezTo>
                    <a:pt x="530" y="1650"/>
                    <a:pt x="546" y="1652"/>
                    <a:pt x="563" y="1655"/>
                  </a:cubicBezTo>
                  <a:cubicBezTo>
                    <a:pt x="578" y="1659"/>
                    <a:pt x="594" y="1662"/>
                    <a:pt x="610" y="1664"/>
                  </a:cubicBezTo>
                  <a:cubicBezTo>
                    <a:pt x="616" y="1664"/>
                    <a:pt x="623" y="1664"/>
                    <a:pt x="630" y="1664"/>
                  </a:cubicBezTo>
                  <a:cubicBezTo>
                    <a:pt x="636" y="1664"/>
                    <a:pt x="642" y="1663"/>
                    <a:pt x="648" y="1663"/>
                  </a:cubicBezTo>
                  <a:cubicBezTo>
                    <a:pt x="651" y="1663"/>
                    <a:pt x="653" y="1664"/>
                    <a:pt x="655" y="1664"/>
                  </a:cubicBezTo>
                  <a:cubicBezTo>
                    <a:pt x="669" y="1663"/>
                    <a:pt x="682" y="1661"/>
                    <a:pt x="694" y="1657"/>
                  </a:cubicBezTo>
                  <a:cubicBezTo>
                    <a:pt x="697" y="1656"/>
                    <a:pt x="699" y="1655"/>
                    <a:pt x="702" y="1653"/>
                  </a:cubicBezTo>
                  <a:cubicBezTo>
                    <a:pt x="716" y="1644"/>
                    <a:pt x="715" y="1630"/>
                    <a:pt x="709" y="1620"/>
                  </a:cubicBezTo>
                  <a:cubicBezTo>
                    <a:pt x="708" y="1619"/>
                    <a:pt x="707" y="1619"/>
                    <a:pt x="706" y="1619"/>
                  </a:cubicBezTo>
                  <a:close/>
                  <a:moveTo>
                    <a:pt x="133" y="680"/>
                  </a:moveTo>
                  <a:cubicBezTo>
                    <a:pt x="130" y="684"/>
                    <a:pt x="127" y="688"/>
                    <a:pt x="124" y="691"/>
                  </a:cubicBezTo>
                  <a:cubicBezTo>
                    <a:pt x="124" y="691"/>
                    <a:pt x="124" y="690"/>
                    <a:pt x="123" y="689"/>
                  </a:cubicBezTo>
                  <a:cubicBezTo>
                    <a:pt x="123" y="688"/>
                    <a:pt x="123" y="688"/>
                    <a:pt x="123" y="687"/>
                  </a:cubicBezTo>
                  <a:cubicBezTo>
                    <a:pt x="124" y="677"/>
                    <a:pt x="123" y="668"/>
                    <a:pt x="113" y="663"/>
                  </a:cubicBezTo>
                  <a:cubicBezTo>
                    <a:pt x="113" y="657"/>
                    <a:pt x="113" y="652"/>
                    <a:pt x="113" y="647"/>
                  </a:cubicBezTo>
                  <a:cubicBezTo>
                    <a:pt x="114" y="640"/>
                    <a:pt x="113" y="634"/>
                    <a:pt x="109" y="628"/>
                  </a:cubicBezTo>
                  <a:cubicBezTo>
                    <a:pt x="107" y="625"/>
                    <a:pt x="107" y="623"/>
                    <a:pt x="108" y="619"/>
                  </a:cubicBezTo>
                  <a:cubicBezTo>
                    <a:pt x="110" y="614"/>
                    <a:pt x="114" y="608"/>
                    <a:pt x="113" y="602"/>
                  </a:cubicBezTo>
                  <a:cubicBezTo>
                    <a:pt x="113" y="601"/>
                    <a:pt x="113" y="600"/>
                    <a:pt x="114" y="600"/>
                  </a:cubicBezTo>
                  <a:cubicBezTo>
                    <a:pt x="118" y="594"/>
                    <a:pt x="117" y="587"/>
                    <a:pt x="117" y="581"/>
                  </a:cubicBezTo>
                  <a:cubicBezTo>
                    <a:pt x="116" y="577"/>
                    <a:pt x="118" y="573"/>
                    <a:pt x="122" y="571"/>
                  </a:cubicBezTo>
                  <a:cubicBezTo>
                    <a:pt x="120" y="577"/>
                    <a:pt x="125" y="581"/>
                    <a:pt x="127" y="585"/>
                  </a:cubicBezTo>
                  <a:cubicBezTo>
                    <a:pt x="131" y="593"/>
                    <a:pt x="133" y="600"/>
                    <a:pt x="133" y="608"/>
                  </a:cubicBezTo>
                  <a:cubicBezTo>
                    <a:pt x="133" y="623"/>
                    <a:pt x="132" y="637"/>
                    <a:pt x="133" y="651"/>
                  </a:cubicBezTo>
                  <a:cubicBezTo>
                    <a:pt x="134" y="661"/>
                    <a:pt x="132" y="671"/>
                    <a:pt x="133" y="680"/>
                  </a:cubicBezTo>
                  <a:close/>
                  <a:moveTo>
                    <a:pt x="702" y="1652"/>
                  </a:moveTo>
                  <a:cubicBezTo>
                    <a:pt x="702" y="1653"/>
                    <a:pt x="702" y="1653"/>
                    <a:pt x="702" y="1653"/>
                  </a:cubicBezTo>
                  <a:cubicBezTo>
                    <a:pt x="702" y="1653"/>
                    <a:pt x="702" y="1653"/>
                    <a:pt x="702" y="165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Freeform 7">
              <a:extLst>
                <a:ext uri="{FF2B5EF4-FFF2-40B4-BE49-F238E27FC236}">
                  <a16:creationId xmlns:a16="http://schemas.microsoft.com/office/drawing/2014/main" id="{5954CA66-ACB5-4032-B2A5-67D4E397A5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6838" y="2220913"/>
              <a:ext cx="1058862" cy="3076575"/>
            </a:xfrm>
            <a:custGeom>
              <a:avLst/>
              <a:gdLst>
                <a:gd name="T0" fmla="*/ 528 w 567"/>
                <a:gd name="T1" fmla="*/ 442 h 1649"/>
                <a:gd name="T2" fmla="*/ 519 w 567"/>
                <a:gd name="T3" fmla="*/ 315 h 1649"/>
                <a:gd name="T4" fmla="*/ 368 w 567"/>
                <a:gd name="T5" fmla="*/ 248 h 1649"/>
                <a:gd name="T6" fmla="*/ 372 w 567"/>
                <a:gd name="T7" fmla="*/ 170 h 1649"/>
                <a:gd name="T8" fmla="*/ 370 w 567"/>
                <a:gd name="T9" fmla="*/ 82 h 1649"/>
                <a:gd name="T10" fmla="*/ 335 w 567"/>
                <a:gd name="T11" fmla="*/ 17 h 1649"/>
                <a:gd name="T12" fmla="*/ 270 w 567"/>
                <a:gd name="T13" fmla="*/ 8 h 1649"/>
                <a:gd name="T14" fmla="*/ 214 w 567"/>
                <a:gd name="T15" fmla="*/ 66 h 1649"/>
                <a:gd name="T16" fmla="*/ 217 w 567"/>
                <a:gd name="T17" fmla="*/ 101 h 1649"/>
                <a:gd name="T18" fmla="*/ 209 w 567"/>
                <a:gd name="T19" fmla="*/ 139 h 1649"/>
                <a:gd name="T20" fmla="*/ 221 w 567"/>
                <a:gd name="T21" fmla="*/ 235 h 1649"/>
                <a:gd name="T22" fmla="*/ 102 w 567"/>
                <a:gd name="T23" fmla="*/ 284 h 1649"/>
                <a:gd name="T24" fmla="*/ 39 w 567"/>
                <a:gd name="T25" fmla="*/ 382 h 1649"/>
                <a:gd name="T26" fmla="*/ 9 w 567"/>
                <a:gd name="T27" fmla="*/ 549 h 1649"/>
                <a:gd name="T28" fmla="*/ 1 w 567"/>
                <a:gd name="T29" fmla="*/ 620 h 1649"/>
                <a:gd name="T30" fmla="*/ 15 w 567"/>
                <a:gd name="T31" fmla="*/ 716 h 1649"/>
                <a:gd name="T32" fmla="*/ 66 w 567"/>
                <a:gd name="T33" fmla="*/ 823 h 1649"/>
                <a:gd name="T34" fmla="*/ 84 w 567"/>
                <a:gd name="T35" fmla="*/ 879 h 1649"/>
                <a:gd name="T36" fmla="*/ 86 w 567"/>
                <a:gd name="T37" fmla="*/ 981 h 1649"/>
                <a:gd name="T38" fmla="*/ 90 w 567"/>
                <a:gd name="T39" fmla="*/ 1111 h 1649"/>
                <a:gd name="T40" fmla="*/ 98 w 567"/>
                <a:gd name="T41" fmla="*/ 1200 h 1649"/>
                <a:gd name="T42" fmla="*/ 105 w 567"/>
                <a:gd name="T43" fmla="*/ 1330 h 1649"/>
                <a:gd name="T44" fmla="*/ 118 w 567"/>
                <a:gd name="T45" fmla="*/ 1447 h 1649"/>
                <a:gd name="T46" fmla="*/ 95 w 567"/>
                <a:gd name="T47" fmla="*/ 1503 h 1649"/>
                <a:gd name="T48" fmla="*/ 85 w 567"/>
                <a:gd name="T49" fmla="*/ 1559 h 1649"/>
                <a:gd name="T50" fmla="*/ 58 w 567"/>
                <a:gd name="T51" fmla="*/ 1586 h 1649"/>
                <a:gd name="T52" fmla="*/ 48 w 567"/>
                <a:gd name="T53" fmla="*/ 1599 h 1649"/>
                <a:gd name="T54" fmla="*/ 61 w 567"/>
                <a:gd name="T55" fmla="*/ 1637 h 1649"/>
                <a:gd name="T56" fmla="*/ 180 w 567"/>
                <a:gd name="T57" fmla="*/ 1602 h 1649"/>
                <a:gd name="T58" fmla="*/ 215 w 567"/>
                <a:gd name="T59" fmla="*/ 1569 h 1649"/>
                <a:gd name="T60" fmla="*/ 215 w 567"/>
                <a:gd name="T61" fmla="*/ 1534 h 1649"/>
                <a:gd name="T62" fmla="*/ 229 w 567"/>
                <a:gd name="T63" fmla="*/ 1433 h 1649"/>
                <a:gd name="T64" fmla="*/ 241 w 567"/>
                <a:gd name="T65" fmla="*/ 1318 h 1649"/>
                <a:gd name="T66" fmla="*/ 260 w 567"/>
                <a:gd name="T67" fmla="*/ 1193 h 1649"/>
                <a:gd name="T68" fmla="*/ 272 w 567"/>
                <a:gd name="T69" fmla="*/ 1102 h 1649"/>
                <a:gd name="T70" fmla="*/ 286 w 567"/>
                <a:gd name="T71" fmla="*/ 998 h 1649"/>
                <a:gd name="T72" fmla="*/ 297 w 567"/>
                <a:gd name="T73" fmla="*/ 1101 h 1649"/>
                <a:gd name="T74" fmla="*/ 307 w 567"/>
                <a:gd name="T75" fmla="*/ 1190 h 1649"/>
                <a:gd name="T76" fmla="*/ 332 w 567"/>
                <a:gd name="T77" fmla="*/ 1318 h 1649"/>
                <a:gd name="T78" fmla="*/ 335 w 567"/>
                <a:gd name="T79" fmla="*/ 1472 h 1649"/>
                <a:gd name="T80" fmla="*/ 355 w 567"/>
                <a:gd name="T81" fmla="*/ 1543 h 1649"/>
                <a:gd name="T82" fmla="*/ 360 w 567"/>
                <a:gd name="T83" fmla="*/ 1592 h 1649"/>
                <a:gd name="T84" fmla="*/ 393 w 567"/>
                <a:gd name="T85" fmla="*/ 1622 h 1649"/>
                <a:gd name="T86" fmla="*/ 492 w 567"/>
                <a:gd name="T87" fmla="*/ 1637 h 1649"/>
                <a:gd name="T88" fmla="*/ 491 w 567"/>
                <a:gd name="T89" fmla="*/ 1599 h 1649"/>
                <a:gd name="T90" fmla="*/ 465 w 567"/>
                <a:gd name="T91" fmla="*/ 1561 h 1649"/>
                <a:gd name="T92" fmla="*/ 466 w 567"/>
                <a:gd name="T93" fmla="*/ 1473 h 1649"/>
                <a:gd name="T94" fmla="*/ 465 w 567"/>
                <a:gd name="T95" fmla="*/ 1381 h 1649"/>
                <a:gd name="T96" fmla="*/ 482 w 567"/>
                <a:gd name="T97" fmla="*/ 1244 h 1649"/>
                <a:gd name="T98" fmla="*/ 485 w 567"/>
                <a:gd name="T99" fmla="*/ 1151 h 1649"/>
                <a:gd name="T100" fmla="*/ 485 w 567"/>
                <a:gd name="T101" fmla="*/ 925 h 1649"/>
                <a:gd name="T102" fmla="*/ 485 w 567"/>
                <a:gd name="T103" fmla="*/ 867 h 1649"/>
                <a:gd name="T104" fmla="*/ 525 w 567"/>
                <a:gd name="T105" fmla="*/ 834 h 1649"/>
                <a:gd name="T106" fmla="*/ 563 w 567"/>
                <a:gd name="T107" fmla="*/ 629 h 16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67" h="1649">
                  <a:moveTo>
                    <a:pt x="563" y="629"/>
                  </a:moveTo>
                  <a:cubicBezTo>
                    <a:pt x="560" y="609"/>
                    <a:pt x="555" y="591"/>
                    <a:pt x="551" y="571"/>
                  </a:cubicBezTo>
                  <a:cubicBezTo>
                    <a:pt x="547" y="552"/>
                    <a:pt x="549" y="533"/>
                    <a:pt x="545" y="514"/>
                  </a:cubicBezTo>
                  <a:cubicBezTo>
                    <a:pt x="541" y="490"/>
                    <a:pt x="533" y="467"/>
                    <a:pt x="528" y="442"/>
                  </a:cubicBezTo>
                  <a:cubicBezTo>
                    <a:pt x="524" y="417"/>
                    <a:pt x="530" y="396"/>
                    <a:pt x="531" y="370"/>
                  </a:cubicBezTo>
                  <a:cubicBezTo>
                    <a:pt x="531" y="359"/>
                    <a:pt x="530" y="348"/>
                    <a:pt x="529" y="337"/>
                  </a:cubicBezTo>
                  <a:cubicBezTo>
                    <a:pt x="529" y="333"/>
                    <a:pt x="528" y="329"/>
                    <a:pt x="527" y="325"/>
                  </a:cubicBezTo>
                  <a:cubicBezTo>
                    <a:pt x="525" y="320"/>
                    <a:pt x="523" y="317"/>
                    <a:pt x="519" y="315"/>
                  </a:cubicBezTo>
                  <a:cubicBezTo>
                    <a:pt x="514" y="313"/>
                    <a:pt x="510" y="311"/>
                    <a:pt x="506" y="310"/>
                  </a:cubicBezTo>
                  <a:cubicBezTo>
                    <a:pt x="487" y="302"/>
                    <a:pt x="468" y="294"/>
                    <a:pt x="449" y="286"/>
                  </a:cubicBezTo>
                  <a:cubicBezTo>
                    <a:pt x="428" y="278"/>
                    <a:pt x="407" y="269"/>
                    <a:pt x="387" y="260"/>
                  </a:cubicBezTo>
                  <a:cubicBezTo>
                    <a:pt x="380" y="257"/>
                    <a:pt x="373" y="254"/>
                    <a:pt x="368" y="248"/>
                  </a:cubicBezTo>
                  <a:cubicBezTo>
                    <a:pt x="364" y="243"/>
                    <a:pt x="360" y="238"/>
                    <a:pt x="356" y="233"/>
                  </a:cubicBezTo>
                  <a:cubicBezTo>
                    <a:pt x="357" y="231"/>
                    <a:pt x="357" y="230"/>
                    <a:pt x="358" y="228"/>
                  </a:cubicBezTo>
                  <a:cubicBezTo>
                    <a:pt x="361" y="219"/>
                    <a:pt x="364" y="209"/>
                    <a:pt x="367" y="200"/>
                  </a:cubicBezTo>
                  <a:cubicBezTo>
                    <a:pt x="370" y="190"/>
                    <a:pt x="369" y="179"/>
                    <a:pt x="372" y="170"/>
                  </a:cubicBezTo>
                  <a:cubicBezTo>
                    <a:pt x="375" y="161"/>
                    <a:pt x="376" y="153"/>
                    <a:pt x="377" y="144"/>
                  </a:cubicBezTo>
                  <a:cubicBezTo>
                    <a:pt x="378" y="135"/>
                    <a:pt x="378" y="127"/>
                    <a:pt x="372" y="119"/>
                  </a:cubicBezTo>
                  <a:cubicBezTo>
                    <a:pt x="371" y="108"/>
                    <a:pt x="370" y="98"/>
                    <a:pt x="369" y="87"/>
                  </a:cubicBezTo>
                  <a:cubicBezTo>
                    <a:pt x="369" y="85"/>
                    <a:pt x="370" y="83"/>
                    <a:pt x="370" y="82"/>
                  </a:cubicBezTo>
                  <a:cubicBezTo>
                    <a:pt x="370" y="77"/>
                    <a:pt x="371" y="72"/>
                    <a:pt x="370" y="68"/>
                  </a:cubicBezTo>
                  <a:cubicBezTo>
                    <a:pt x="368" y="55"/>
                    <a:pt x="362" y="44"/>
                    <a:pt x="356" y="33"/>
                  </a:cubicBezTo>
                  <a:cubicBezTo>
                    <a:pt x="356" y="31"/>
                    <a:pt x="355" y="30"/>
                    <a:pt x="353" y="29"/>
                  </a:cubicBezTo>
                  <a:cubicBezTo>
                    <a:pt x="347" y="25"/>
                    <a:pt x="342" y="20"/>
                    <a:pt x="335" y="17"/>
                  </a:cubicBezTo>
                  <a:cubicBezTo>
                    <a:pt x="326" y="14"/>
                    <a:pt x="317" y="13"/>
                    <a:pt x="309" y="7"/>
                  </a:cubicBezTo>
                  <a:cubicBezTo>
                    <a:pt x="303" y="3"/>
                    <a:pt x="295" y="2"/>
                    <a:pt x="288" y="0"/>
                  </a:cubicBezTo>
                  <a:cubicBezTo>
                    <a:pt x="286" y="3"/>
                    <a:pt x="284" y="5"/>
                    <a:pt x="282" y="8"/>
                  </a:cubicBezTo>
                  <a:cubicBezTo>
                    <a:pt x="278" y="8"/>
                    <a:pt x="274" y="8"/>
                    <a:pt x="270" y="8"/>
                  </a:cubicBezTo>
                  <a:cubicBezTo>
                    <a:pt x="262" y="9"/>
                    <a:pt x="254" y="8"/>
                    <a:pt x="250" y="17"/>
                  </a:cubicBezTo>
                  <a:cubicBezTo>
                    <a:pt x="249" y="19"/>
                    <a:pt x="247" y="19"/>
                    <a:pt x="245" y="20"/>
                  </a:cubicBezTo>
                  <a:cubicBezTo>
                    <a:pt x="237" y="25"/>
                    <a:pt x="229" y="31"/>
                    <a:pt x="225" y="39"/>
                  </a:cubicBezTo>
                  <a:cubicBezTo>
                    <a:pt x="221" y="48"/>
                    <a:pt x="220" y="58"/>
                    <a:pt x="214" y="66"/>
                  </a:cubicBezTo>
                  <a:cubicBezTo>
                    <a:pt x="214" y="66"/>
                    <a:pt x="214" y="67"/>
                    <a:pt x="214" y="67"/>
                  </a:cubicBezTo>
                  <a:cubicBezTo>
                    <a:pt x="214" y="73"/>
                    <a:pt x="214" y="80"/>
                    <a:pt x="215" y="86"/>
                  </a:cubicBezTo>
                  <a:cubicBezTo>
                    <a:pt x="215" y="89"/>
                    <a:pt x="216" y="91"/>
                    <a:pt x="216" y="93"/>
                  </a:cubicBezTo>
                  <a:cubicBezTo>
                    <a:pt x="216" y="96"/>
                    <a:pt x="217" y="99"/>
                    <a:pt x="217" y="101"/>
                  </a:cubicBezTo>
                  <a:cubicBezTo>
                    <a:pt x="217" y="104"/>
                    <a:pt x="218" y="107"/>
                    <a:pt x="217" y="108"/>
                  </a:cubicBezTo>
                  <a:cubicBezTo>
                    <a:pt x="215" y="111"/>
                    <a:pt x="216" y="112"/>
                    <a:pt x="216" y="114"/>
                  </a:cubicBezTo>
                  <a:cubicBezTo>
                    <a:pt x="217" y="118"/>
                    <a:pt x="216" y="122"/>
                    <a:pt x="216" y="126"/>
                  </a:cubicBezTo>
                  <a:cubicBezTo>
                    <a:pt x="210" y="128"/>
                    <a:pt x="209" y="134"/>
                    <a:pt x="209" y="139"/>
                  </a:cubicBezTo>
                  <a:cubicBezTo>
                    <a:pt x="209" y="156"/>
                    <a:pt x="214" y="171"/>
                    <a:pt x="224" y="185"/>
                  </a:cubicBezTo>
                  <a:cubicBezTo>
                    <a:pt x="224" y="191"/>
                    <a:pt x="223" y="198"/>
                    <a:pt x="224" y="204"/>
                  </a:cubicBezTo>
                  <a:cubicBezTo>
                    <a:pt x="225" y="211"/>
                    <a:pt x="227" y="218"/>
                    <a:pt x="229" y="225"/>
                  </a:cubicBezTo>
                  <a:cubicBezTo>
                    <a:pt x="226" y="228"/>
                    <a:pt x="223" y="232"/>
                    <a:pt x="221" y="235"/>
                  </a:cubicBezTo>
                  <a:cubicBezTo>
                    <a:pt x="215" y="245"/>
                    <a:pt x="206" y="250"/>
                    <a:pt x="196" y="254"/>
                  </a:cubicBezTo>
                  <a:cubicBezTo>
                    <a:pt x="182" y="260"/>
                    <a:pt x="167" y="264"/>
                    <a:pt x="153" y="269"/>
                  </a:cubicBezTo>
                  <a:cubicBezTo>
                    <a:pt x="142" y="273"/>
                    <a:pt x="131" y="277"/>
                    <a:pt x="120" y="281"/>
                  </a:cubicBezTo>
                  <a:cubicBezTo>
                    <a:pt x="114" y="283"/>
                    <a:pt x="108" y="283"/>
                    <a:pt x="102" y="284"/>
                  </a:cubicBezTo>
                  <a:cubicBezTo>
                    <a:pt x="90" y="287"/>
                    <a:pt x="78" y="289"/>
                    <a:pt x="66" y="294"/>
                  </a:cubicBezTo>
                  <a:cubicBezTo>
                    <a:pt x="61" y="296"/>
                    <a:pt x="58" y="299"/>
                    <a:pt x="56" y="303"/>
                  </a:cubicBezTo>
                  <a:cubicBezTo>
                    <a:pt x="49" y="318"/>
                    <a:pt x="44" y="334"/>
                    <a:pt x="45" y="351"/>
                  </a:cubicBezTo>
                  <a:cubicBezTo>
                    <a:pt x="45" y="362"/>
                    <a:pt x="41" y="371"/>
                    <a:pt x="39" y="382"/>
                  </a:cubicBezTo>
                  <a:cubicBezTo>
                    <a:pt x="37" y="390"/>
                    <a:pt x="39" y="397"/>
                    <a:pt x="38" y="405"/>
                  </a:cubicBezTo>
                  <a:cubicBezTo>
                    <a:pt x="34" y="436"/>
                    <a:pt x="24" y="467"/>
                    <a:pt x="18" y="498"/>
                  </a:cubicBezTo>
                  <a:cubicBezTo>
                    <a:pt x="16" y="510"/>
                    <a:pt x="14" y="521"/>
                    <a:pt x="12" y="532"/>
                  </a:cubicBezTo>
                  <a:cubicBezTo>
                    <a:pt x="11" y="538"/>
                    <a:pt x="9" y="544"/>
                    <a:pt x="9" y="549"/>
                  </a:cubicBezTo>
                  <a:cubicBezTo>
                    <a:pt x="8" y="554"/>
                    <a:pt x="8" y="559"/>
                    <a:pt x="6" y="563"/>
                  </a:cubicBezTo>
                  <a:cubicBezTo>
                    <a:pt x="5" y="566"/>
                    <a:pt x="4" y="570"/>
                    <a:pt x="4" y="574"/>
                  </a:cubicBezTo>
                  <a:cubicBezTo>
                    <a:pt x="4" y="584"/>
                    <a:pt x="2" y="593"/>
                    <a:pt x="1" y="603"/>
                  </a:cubicBezTo>
                  <a:cubicBezTo>
                    <a:pt x="0" y="609"/>
                    <a:pt x="0" y="614"/>
                    <a:pt x="1" y="620"/>
                  </a:cubicBezTo>
                  <a:cubicBezTo>
                    <a:pt x="2" y="627"/>
                    <a:pt x="2" y="635"/>
                    <a:pt x="1" y="643"/>
                  </a:cubicBezTo>
                  <a:cubicBezTo>
                    <a:pt x="0" y="651"/>
                    <a:pt x="0" y="660"/>
                    <a:pt x="1" y="668"/>
                  </a:cubicBezTo>
                  <a:cubicBezTo>
                    <a:pt x="3" y="680"/>
                    <a:pt x="7" y="691"/>
                    <a:pt x="10" y="702"/>
                  </a:cubicBezTo>
                  <a:cubicBezTo>
                    <a:pt x="11" y="707"/>
                    <a:pt x="14" y="711"/>
                    <a:pt x="15" y="716"/>
                  </a:cubicBezTo>
                  <a:cubicBezTo>
                    <a:pt x="23" y="746"/>
                    <a:pt x="30" y="776"/>
                    <a:pt x="38" y="806"/>
                  </a:cubicBezTo>
                  <a:cubicBezTo>
                    <a:pt x="40" y="812"/>
                    <a:pt x="42" y="819"/>
                    <a:pt x="45" y="824"/>
                  </a:cubicBezTo>
                  <a:cubicBezTo>
                    <a:pt x="51" y="828"/>
                    <a:pt x="51" y="821"/>
                    <a:pt x="53" y="821"/>
                  </a:cubicBezTo>
                  <a:cubicBezTo>
                    <a:pt x="58" y="822"/>
                    <a:pt x="62" y="822"/>
                    <a:pt x="66" y="823"/>
                  </a:cubicBezTo>
                  <a:cubicBezTo>
                    <a:pt x="67" y="825"/>
                    <a:pt x="69" y="828"/>
                    <a:pt x="69" y="831"/>
                  </a:cubicBezTo>
                  <a:cubicBezTo>
                    <a:pt x="71" y="838"/>
                    <a:pt x="74" y="845"/>
                    <a:pt x="75" y="853"/>
                  </a:cubicBezTo>
                  <a:cubicBezTo>
                    <a:pt x="77" y="858"/>
                    <a:pt x="78" y="863"/>
                    <a:pt x="81" y="868"/>
                  </a:cubicBezTo>
                  <a:cubicBezTo>
                    <a:pt x="83" y="871"/>
                    <a:pt x="84" y="875"/>
                    <a:pt x="84" y="879"/>
                  </a:cubicBezTo>
                  <a:cubicBezTo>
                    <a:pt x="84" y="883"/>
                    <a:pt x="84" y="888"/>
                    <a:pt x="84" y="893"/>
                  </a:cubicBezTo>
                  <a:cubicBezTo>
                    <a:pt x="85" y="906"/>
                    <a:pt x="86" y="919"/>
                    <a:pt x="86" y="932"/>
                  </a:cubicBezTo>
                  <a:cubicBezTo>
                    <a:pt x="87" y="946"/>
                    <a:pt x="86" y="961"/>
                    <a:pt x="85" y="975"/>
                  </a:cubicBezTo>
                  <a:cubicBezTo>
                    <a:pt x="85" y="977"/>
                    <a:pt x="85" y="979"/>
                    <a:pt x="86" y="981"/>
                  </a:cubicBezTo>
                  <a:cubicBezTo>
                    <a:pt x="88" y="994"/>
                    <a:pt x="89" y="1007"/>
                    <a:pt x="89" y="1020"/>
                  </a:cubicBezTo>
                  <a:cubicBezTo>
                    <a:pt x="89" y="1023"/>
                    <a:pt x="88" y="1025"/>
                    <a:pt x="89" y="1028"/>
                  </a:cubicBezTo>
                  <a:cubicBezTo>
                    <a:pt x="91" y="1044"/>
                    <a:pt x="92" y="1060"/>
                    <a:pt x="92" y="1075"/>
                  </a:cubicBezTo>
                  <a:cubicBezTo>
                    <a:pt x="91" y="1087"/>
                    <a:pt x="90" y="1099"/>
                    <a:pt x="90" y="1111"/>
                  </a:cubicBezTo>
                  <a:cubicBezTo>
                    <a:pt x="91" y="1116"/>
                    <a:pt x="92" y="1122"/>
                    <a:pt x="92" y="1127"/>
                  </a:cubicBezTo>
                  <a:cubicBezTo>
                    <a:pt x="92" y="1140"/>
                    <a:pt x="93" y="1154"/>
                    <a:pt x="94" y="1167"/>
                  </a:cubicBezTo>
                  <a:cubicBezTo>
                    <a:pt x="94" y="1168"/>
                    <a:pt x="94" y="1169"/>
                    <a:pt x="94" y="1170"/>
                  </a:cubicBezTo>
                  <a:cubicBezTo>
                    <a:pt x="95" y="1180"/>
                    <a:pt x="97" y="1190"/>
                    <a:pt x="98" y="1200"/>
                  </a:cubicBezTo>
                  <a:cubicBezTo>
                    <a:pt x="99" y="1214"/>
                    <a:pt x="99" y="1228"/>
                    <a:pt x="100" y="1242"/>
                  </a:cubicBezTo>
                  <a:cubicBezTo>
                    <a:pt x="100" y="1245"/>
                    <a:pt x="100" y="1248"/>
                    <a:pt x="100" y="1251"/>
                  </a:cubicBezTo>
                  <a:cubicBezTo>
                    <a:pt x="101" y="1267"/>
                    <a:pt x="102" y="1282"/>
                    <a:pt x="103" y="1298"/>
                  </a:cubicBezTo>
                  <a:cubicBezTo>
                    <a:pt x="104" y="1309"/>
                    <a:pt x="104" y="1319"/>
                    <a:pt x="105" y="1330"/>
                  </a:cubicBezTo>
                  <a:cubicBezTo>
                    <a:pt x="106" y="1346"/>
                    <a:pt x="106" y="1361"/>
                    <a:pt x="108" y="1376"/>
                  </a:cubicBezTo>
                  <a:cubicBezTo>
                    <a:pt x="109" y="1386"/>
                    <a:pt x="110" y="1396"/>
                    <a:pt x="112" y="1405"/>
                  </a:cubicBezTo>
                  <a:cubicBezTo>
                    <a:pt x="114" y="1417"/>
                    <a:pt x="117" y="1428"/>
                    <a:pt x="119" y="1440"/>
                  </a:cubicBezTo>
                  <a:cubicBezTo>
                    <a:pt x="120" y="1442"/>
                    <a:pt x="119" y="1445"/>
                    <a:pt x="118" y="1447"/>
                  </a:cubicBezTo>
                  <a:cubicBezTo>
                    <a:pt x="117" y="1451"/>
                    <a:pt x="115" y="1455"/>
                    <a:pt x="113" y="1459"/>
                  </a:cubicBezTo>
                  <a:cubicBezTo>
                    <a:pt x="111" y="1466"/>
                    <a:pt x="107" y="1472"/>
                    <a:pt x="100" y="1475"/>
                  </a:cubicBezTo>
                  <a:cubicBezTo>
                    <a:pt x="93" y="1478"/>
                    <a:pt x="91" y="1486"/>
                    <a:pt x="93" y="1492"/>
                  </a:cubicBezTo>
                  <a:cubicBezTo>
                    <a:pt x="94" y="1496"/>
                    <a:pt x="95" y="1499"/>
                    <a:pt x="95" y="1503"/>
                  </a:cubicBezTo>
                  <a:cubicBezTo>
                    <a:pt x="96" y="1510"/>
                    <a:pt x="96" y="1518"/>
                    <a:pt x="97" y="1526"/>
                  </a:cubicBezTo>
                  <a:cubicBezTo>
                    <a:pt x="97" y="1530"/>
                    <a:pt x="98" y="1534"/>
                    <a:pt x="98" y="1538"/>
                  </a:cubicBezTo>
                  <a:cubicBezTo>
                    <a:pt x="99" y="1540"/>
                    <a:pt x="100" y="1542"/>
                    <a:pt x="100" y="1546"/>
                  </a:cubicBezTo>
                  <a:cubicBezTo>
                    <a:pt x="96" y="1550"/>
                    <a:pt x="90" y="1555"/>
                    <a:pt x="85" y="1559"/>
                  </a:cubicBezTo>
                  <a:cubicBezTo>
                    <a:pt x="82" y="1562"/>
                    <a:pt x="79" y="1563"/>
                    <a:pt x="80" y="1567"/>
                  </a:cubicBezTo>
                  <a:cubicBezTo>
                    <a:pt x="77" y="1569"/>
                    <a:pt x="75" y="1571"/>
                    <a:pt x="72" y="1573"/>
                  </a:cubicBezTo>
                  <a:cubicBezTo>
                    <a:pt x="70" y="1575"/>
                    <a:pt x="67" y="1579"/>
                    <a:pt x="64" y="1580"/>
                  </a:cubicBezTo>
                  <a:cubicBezTo>
                    <a:pt x="61" y="1580"/>
                    <a:pt x="59" y="1583"/>
                    <a:pt x="58" y="1586"/>
                  </a:cubicBezTo>
                  <a:cubicBezTo>
                    <a:pt x="57" y="1587"/>
                    <a:pt x="56" y="1589"/>
                    <a:pt x="55" y="1590"/>
                  </a:cubicBezTo>
                  <a:cubicBezTo>
                    <a:pt x="55" y="1591"/>
                    <a:pt x="54" y="1591"/>
                    <a:pt x="53" y="1592"/>
                  </a:cubicBezTo>
                  <a:cubicBezTo>
                    <a:pt x="53" y="1592"/>
                    <a:pt x="52" y="1593"/>
                    <a:pt x="51" y="1593"/>
                  </a:cubicBezTo>
                  <a:cubicBezTo>
                    <a:pt x="49" y="1595"/>
                    <a:pt x="48" y="1597"/>
                    <a:pt x="48" y="1599"/>
                  </a:cubicBezTo>
                  <a:cubicBezTo>
                    <a:pt x="48" y="1605"/>
                    <a:pt x="45" y="1609"/>
                    <a:pt x="42" y="1612"/>
                  </a:cubicBezTo>
                  <a:cubicBezTo>
                    <a:pt x="38" y="1616"/>
                    <a:pt x="39" y="1619"/>
                    <a:pt x="43" y="1622"/>
                  </a:cubicBezTo>
                  <a:cubicBezTo>
                    <a:pt x="45" y="1623"/>
                    <a:pt x="48" y="1625"/>
                    <a:pt x="49" y="1627"/>
                  </a:cubicBezTo>
                  <a:cubicBezTo>
                    <a:pt x="50" y="1634"/>
                    <a:pt x="56" y="1637"/>
                    <a:pt x="61" y="1637"/>
                  </a:cubicBezTo>
                  <a:cubicBezTo>
                    <a:pt x="73" y="1639"/>
                    <a:pt x="84" y="1642"/>
                    <a:pt x="97" y="1640"/>
                  </a:cubicBezTo>
                  <a:cubicBezTo>
                    <a:pt x="109" y="1638"/>
                    <a:pt x="122" y="1636"/>
                    <a:pt x="133" y="1631"/>
                  </a:cubicBezTo>
                  <a:cubicBezTo>
                    <a:pt x="145" y="1627"/>
                    <a:pt x="155" y="1622"/>
                    <a:pt x="161" y="1611"/>
                  </a:cubicBezTo>
                  <a:cubicBezTo>
                    <a:pt x="165" y="1603"/>
                    <a:pt x="173" y="1603"/>
                    <a:pt x="180" y="1602"/>
                  </a:cubicBezTo>
                  <a:cubicBezTo>
                    <a:pt x="182" y="1602"/>
                    <a:pt x="183" y="1603"/>
                    <a:pt x="184" y="1603"/>
                  </a:cubicBezTo>
                  <a:cubicBezTo>
                    <a:pt x="186" y="1602"/>
                    <a:pt x="187" y="1601"/>
                    <a:pt x="188" y="1600"/>
                  </a:cubicBezTo>
                  <a:cubicBezTo>
                    <a:pt x="195" y="1597"/>
                    <a:pt x="201" y="1595"/>
                    <a:pt x="208" y="1592"/>
                  </a:cubicBezTo>
                  <a:cubicBezTo>
                    <a:pt x="218" y="1586"/>
                    <a:pt x="220" y="1580"/>
                    <a:pt x="215" y="1569"/>
                  </a:cubicBezTo>
                  <a:cubicBezTo>
                    <a:pt x="214" y="1567"/>
                    <a:pt x="213" y="1566"/>
                    <a:pt x="213" y="1564"/>
                  </a:cubicBezTo>
                  <a:cubicBezTo>
                    <a:pt x="212" y="1560"/>
                    <a:pt x="211" y="1557"/>
                    <a:pt x="210" y="1552"/>
                  </a:cubicBezTo>
                  <a:cubicBezTo>
                    <a:pt x="210" y="1551"/>
                    <a:pt x="211" y="1549"/>
                    <a:pt x="211" y="1548"/>
                  </a:cubicBezTo>
                  <a:cubicBezTo>
                    <a:pt x="211" y="1543"/>
                    <a:pt x="213" y="1539"/>
                    <a:pt x="215" y="1534"/>
                  </a:cubicBezTo>
                  <a:cubicBezTo>
                    <a:pt x="216" y="1532"/>
                    <a:pt x="217" y="1530"/>
                    <a:pt x="218" y="1527"/>
                  </a:cubicBezTo>
                  <a:cubicBezTo>
                    <a:pt x="222" y="1519"/>
                    <a:pt x="227" y="1511"/>
                    <a:pt x="229" y="1502"/>
                  </a:cubicBezTo>
                  <a:cubicBezTo>
                    <a:pt x="231" y="1492"/>
                    <a:pt x="232" y="1481"/>
                    <a:pt x="232" y="1470"/>
                  </a:cubicBezTo>
                  <a:cubicBezTo>
                    <a:pt x="233" y="1457"/>
                    <a:pt x="232" y="1445"/>
                    <a:pt x="229" y="1433"/>
                  </a:cubicBezTo>
                  <a:cubicBezTo>
                    <a:pt x="227" y="1422"/>
                    <a:pt x="226" y="1411"/>
                    <a:pt x="225" y="1400"/>
                  </a:cubicBezTo>
                  <a:cubicBezTo>
                    <a:pt x="224" y="1396"/>
                    <a:pt x="223" y="1390"/>
                    <a:pt x="224" y="1385"/>
                  </a:cubicBezTo>
                  <a:cubicBezTo>
                    <a:pt x="227" y="1378"/>
                    <a:pt x="228" y="1370"/>
                    <a:pt x="231" y="1363"/>
                  </a:cubicBezTo>
                  <a:cubicBezTo>
                    <a:pt x="236" y="1348"/>
                    <a:pt x="239" y="1333"/>
                    <a:pt x="241" y="1318"/>
                  </a:cubicBezTo>
                  <a:cubicBezTo>
                    <a:pt x="242" y="1306"/>
                    <a:pt x="245" y="1293"/>
                    <a:pt x="247" y="1281"/>
                  </a:cubicBezTo>
                  <a:cubicBezTo>
                    <a:pt x="249" y="1274"/>
                    <a:pt x="251" y="1267"/>
                    <a:pt x="252" y="1259"/>
                  </a:cubicBezTo>
                  <a:cubicBezTo>
                    <a:pt x="254" y="1249"/>
                    <a:pt x="255" y="1239"/>
                    <a:pt x="256" y="1229"/>
                  </a:cubicBezTo>
                  <a:cubicBezTo>
                    <a:pt x="258" y="1217"/>
                    <a:pt x="261" y="1205"/>
                    <a:pt x="260" y="1193"/>
                  </a:cubicBezTo>
                  <a:cubicBezTo>
                    <a:pt x="260" y="1191"/>
                    <a:pt x="261" y="1188"/>
                    <a:pt x="261" y="1185"/>
                  </a:cubicBezTo>
                  <a:cubicBezTo>
                    <a:pt x="262" y="1175"/>
                    <a:pt x="264" y="1166"/>
                    <a:pt x="265" y="1156"/>
                  </a:cubicBezTo>
                  <a:cubicBezTo>
                    <a:pt x="266" y="1148"/>
                    <a:pt x="266" y="1141"/>
                    <a:pt x="267" y="1134"/>
                  </a:cubicBezTo>
                  <a:cubicBezTo>
                    <a:pt x="268" y="1123"/>
                    <a:pt x="270" y="1113"/>
                    <a:pt x="272" y="1102"/>
                  </a:cubicBezTo>
                  <a:cubicBezTo>
                    <a:pt x="273" y="1091"/>
                    <a:pt x="274" y="1079"/>
                    <a:pt x="275" y="1068"/>
                  </a:cubicBezTo>
                  <a:cubicBezTo>
                    <a:pt x="276" y="1056"/>
                    <a:pt x="277" y="1044"/>
                    <a:pt x="278" y="1032"/>
                  </a:cubicBezTo>
                  <a:cubicBezTo>
                    <a:pt x="280" y="1018"/>
                    <a:pt x="281" y="1005"/>
                    <a:pt x="283" y="992"/>
                  </a:cubicBezTo>
                  <a:cubicBezTo>
                    <a:pt x="285" y="994"/>
                    <a:pt x="286" y="996"/>
                    <a:pt x="286" y="998"/>
                  </a:cubicBezTo>
                  <a:cubicBezTo>
                    <a:pt x="287" y="1003"/>
                    <a:pt x="287" y="1008"/>
                    <a:pt x="288" y="1012"/>
                  </a:cubicBezTo>
                  <a:cubicBezTo>
                    <a:pt x="290" y="1022"/>
                    <a:pt x="293" y="1031"/>
                    <a:pt x="293" y="1042"/>
                  </a:cubicBezTo>
                  <a:cubicBezTo>
                    <a:pt x="293" y="1049"/>
                    <a:pt x="294" y="1056"/>
                    <a:pt x="294" y="1063"/>
                  </a:cubicBezTo>
                  <a:cubicBezTo>
                    <a:pt x="295" y="1075"/>
                    <a:pt x="296" y="1088"/>
                    <a:pt x="297" y="1101"/>
                  </a:cubicBezTo>
                  <a:cubicBezTo>
                    <a:pt x="298" y="1106"/>
                    <a:pt x="298" y="1112"/>
                    <a:pt x="299" y="1117"/>
                  </a:cubicBezTo>
                  <a:cubicBezTo>
                    <a:pt x="300" y="1124"/>
                    <a:pt x="301" y="1131"/>
                    <a:pt x="302" y="1138"/>
                  </a:cubicBezTo>
                  <a:cubicBezTo>
                    <a:pt x="303" y="1144"/>
                    <a:pt x="304" y="1150"/>
                    <a:pt x="304" y="1156"/>
                  </a:cubicBezTo>
                  <a:cubicBezTo>
                    <a:pt x="305" y="1167"/>
                    <a:pt x="307" y="1178"/>
                    <a:pt x="307" y="1190"/>
                  </a:cubicBezTo>
                  <a:cubicBezTo>
                    <a:pt x="307" y="1197"/>
                    <a:pt x="308" y="1204"/>
                    <a:pt x="310" y="1211"/>
                  </a:cubicBezTo>
                  <a:cubicBezTo>
                    <a:pt x="312" y="1222"/>
                    <a:pt x="315" y="1233"/>
                    <a:pt x="317" y="1244"/>
                  </a:cubicBezTo>
                  <a:cubicBezTo>
                    <a:pt x="319" y="1256"/>
                    <a:pt x="322" y="1268"/>
                    <a:pt x="324" y="1280"/>
                  </a:cubicBezTo>
                  <a:cubicBezTo>
                    <a:pt x="327" y="1293"/>
                    <a:pt x="329" y="1306"/>
                    <a:pt x="332" y="1318"/>
                  </a:cubicBezTo>
                  <a:cubicBezTo>
                    <a:pt x="335" y="1336"/>
                    <a:pt x="338" y="1354"/>
                    <a:pt x="343" y="1372"/>
                  </a:cubicBezTo>
                  <a:cubicBezTo>
                    <a:pt x="345" y="1377"/>
                    <a:pt x="345" y="1383"/>
                    <a:pt x="344" y="1388"/>
                  </a:cubicBezTo>
                  <a:cubicBezTo>
                    <a:pt x="343" y="1402"/>
                    <a:pt x="340" y="1417"/>
                    <a:pt x="338" y="1431"/>
                  </a:cubicBezTo>
                  <a:cubicBezTo>
                    <a:pt x="337" y="1445"/>
                    <a:pt x="336" y="1459"/>
                    <a:pt x="335" y="1472"/>
                  </a:cubicBezTo>
                  <a:cubicBezTo>
                    <a:pt x="335" y="1474"/>
                    <a:pt x="335" y="1476"/>
                    <a:pt x="335" y="1477"/>
                  </a:cubicBezTo>
                  <a:cubicBezTo>
                    <a:pt x="336" y="1481"/>
                    <a:pt x="336" y="1485"/>
                    <a:pt x="337" y="1488"/>
                  </a:cubicBezTo>
                  <a:cubicBezTo>
                    <a:pt x="339" y="1499"/>
                    <a:pt x="340" y="1509"/>
                    <a:pt x="345" y="1519"/>
                  </a:cubicBezTo>
                  <a:cubicBezTo>
                    <a:pt x="349" y="1526"/>
                    <a:pt x="352" y="1535"/>
                    <a:pt x="355" y="1543"/>
                  </a:cubicBezTo>
                  <a:cubicBezTo>
                    <a:pt x="356" y="1547"/>
                    <a:pt x="357" y="1552"/>
                    <a:pt x="358" y="1556"/>
                  </a:cubicBezTo>
                  <a:cubicBezTo>
                    <a:pt x="353" y="1562"/>
                    <a:pt x="354" y="1570"/>
                    <a:pt x="351" y="1577"/>
                  </a:cubicBezTo>
                  <a:cubicBezTo>
                    <a:pt x="351" y="1578"/>
                    <a:pt x="351" y="1580"/>
                    <a:pt x="351" y="1581"/>
                  </a:cubicBezTo>
                  <a:cubicBezTo>
                    <a:pt x="352" y="1586"/>
                    <a:pt x="356" y="1590"/>
                    <a:pt x="360" y="1592"/>
                  </a:cubicBezTo>
                  <a:cubicBezTo>
                    <a:pt x="364" y="1595"/>
                    <a:pt x="367" y="1597"/>
                    <a:pt x="371" y="1599"/>
                  </a:cubicBezTo>
                  <a:cubicBezTo>
                    <a:pt x="374" y="1600"/>
                    <a:pt x="377" y="1601"/>
                    <a:pt x="380" y="1602"/>
                  </a:cubicBezTo>
                  <a:cubicBezTo>
                    <a:pt x="386" y="1603"/>
                    <a:pt x="388" y="1605"/>
                    <a:pt x="389" y="1611"/>
                  </a:cubicBezTo>
                  <a:cubicBezTo>
                    <a:pt x="390" y="1615"/>
                    <a:pt x="391" y="1619"/>
                    <a:pt x="393" y="1622"/>
                  </a:cubicBezTo>
                  <a:cubicBezTo>
                    <a:pt x="399" y="1628"/>
                    <a:pt x="405" y="1633"/>
                    <a:pt x="413" y="1636"/>
                  </a:cubicBezTo>
                  <a:cubicBezTo>
                    <a:pt x="426" y="1640"/>
                    <a:pt x="437" y="1645"/>
                    <a:pt x="450" y="1647"/>
                  </a:cubicBezTo>
                  <a:cubicBezTo>
                    <a:pt x="464" y="1649"/>
                    <a:pt x="476" y="1647"/>
                    <a:pt x="488" y="1640"/>
                  </a:cubicBezTo>
                  <a:cubicBezTo>
                    <a:pt x="490" y="1640"/>
                    <a:pt x="491" y="1638"/>
                    <a:pt x="492" y="1637"/>
                  </a:cubicBezTo>
                  <a:cubicBezTo>
                    <a:pt x="494" y="1634"/>
                    <a:pt x="496" y="1631"/>
                    <a:pt x="498" y="1628"/>
                  </a:cubicBezTo>
                  <a:cubicBezTo>
                    <a:pt x="497" y="1625"/>
                    <a:pt x="496" y="1622"/>
                    <a:pt x="495" y="1619"/>
                  </a:cubicBezTo>
                  <a:cubicBezTo>
                    <a:pt x="494" y="1617"/>
                    <a:pt x="493" y="1614"/>
                    <a:pt x="494" y="1612"/>
                  </a:cubicBezTo>
                  <a:cubicBezTo>
                    <a:pt x="495" y="1607"/>
                    <a:pt x="493" y="1603"/>
                    <a:pt x="491" y="1599"/>
                  </a:cubicBezTo>
                  <a:cubicBezTo>
                    <a:pt x="490" y="1598"/>
                    <a:pt x="489" y="1596"/>
                    <a:pt x="489" y="1594"/>
                  </a:cubicBezTo>
                  <a:cubicBezTo>
                    <a:pt x="489" y="1589"/>
                    <a:pt x="486" y="1587"/>
                    <a:pt x="482" y="1584"/>
                  </a:cubicBezTo>
                  <a:cubicBezTo>
                    <a:pt x="479" y="1581"/>
                    <a:pt x="476" y="1577"/>
                    <a:pt x="473" y="1574"/>
                  </a:cubicBezTo>
                  <a:cubicBezTo>
                    <a:pt x="470" y="1570"/>
                    <a:pt x="468" y="1565"/>
                    <a:pt x="465" y="1561"/>
                  </a:cubicBezTo>
                  <a:cubicBezTo>
                    <a:pt x="459" y="1553"/>
                    <a:pt x="456" y="1544"/>
                    <a:pt x="458" y="1534"/>
                  </a:cubicBezTo>
                  <a:cubicBezTo>
                    <a:pt x="459" y="1528"/>
                    <a:pt x="460" y="1522"/>
                    <a:pt x="462" y="1516"/>
                  </a:cubicBezTo>
                  <a:cubicBezTo>
                    <a:pt x="463" y="1509"/>
                    <a:pt x="464" y="1502"/>
                    <a:pt x="467" y="1496"/>
                  </a:cubicBezTo>
                  <a:cubicBezTo>
                    <a:pt x="470" y="1489"/>
                    <a:pt x="470" y="1481"/>
                    <a:pt x="466" y="1473"/>
                  </a:cubicBezTo>
                  <a:cubicBezTo>
                    <a:pt x="462" y="1467"/>
                    <a:pt x="460" y="1461"/>
                    <a:pt x="459" y="1454"/>
                  </a:cubicBezTo>
                  <a:cubicBezTo>
                    <a:pt x="459" y="1449"/>
                    <a:pt x="458" y="1445"/>
                    <a:pt x="458" y="1440"/>
                  </a:cubicBezTo>
                  <a:cubicBezTo>
                    <a:pt x="459" y="1431"/>
                    <a:pt x="460" y="1423"/>
                    <a:pt x="461" y="1414"/>
                  </a:cubicBezTo>
                  <a:cubicBezTo>
                    <a:pt x="462" y="1403"/>
                    <a:pt x="463" y="1392"/>
                    <a:pt x="465" y="1381"/>
                  </a:cubicBezTo>
                  <a:cubicBezTo>
                    <a:pt x="467" y="1362"/>
                    <a:pt x="471" y="1344"/>
                    <a:pt x="474" y="1325"/>
                  </a:cubicBezTo>
                  <a:cubicBezTo>
                    <a:pt x="476" y="1310"/>
                    <a:pt x="477" y="1295"/>
                    <a:pt x="479" y="1281"/>
                  </a:cubicBezTo>
                  <a:cubicBezTo>
                    <a:pt x="479" y="1277"/>
                    <a:pt x="480" y="1273"/>
                    <a:pt x="480" y="1269"/>
                  </a:cubicBezTo>
                  <a:cubicBezTo>
                    <a:pt x="481" y="1261"/>
                    <a:pt x="482" y="1253"/>
                    <a:pt x="482" y="1244"/>
                  </a:cubicBezTo>
                  <a:cubicBezTo>
                    <a:pt x="483" y="1239"/>
                    <a:pt x="484" y="1233"/>
                    <a:pt x="484" y="1227"/>
                  </a:cubicBezTo>
                  <a:cubicBezTo>
                    <a:pt x="485" y="1219"/>
                    <a:pt x="487" y="1211"/>
                    <a:pt x="487" y="1202"/>
                  </a:cubicBezTo>
                  <a:cubicBezTo>
                    <a:pt x="487" y="1186"/>
                    <a:pt x="486" y="1171"/>
                    <a:pt x="485" y="1155"/>
                  </a:cubicBezTo>
                  <a:cubicBezTo>
                    <a:pt x="485" y="1153"/>
                    <a:pt x="485" y="1152"/>
                    <a:pt x="485" y="1151"/>
                  </a:cubicBezTo>
                  <a:cubicBezTo>
                    <a:pt x="484" y="1143"/>
                    <a:pt x="482" y="1135"/>
                    <a:pt x="482" y="1127"/>
                  </a:cubicBezTo>
                  <a:cubicBezTo>
                    <a:pt x="482" y="1109"/>
                    <a:pt x="482" y="1091"/>
                    <a:pt x="482" y="1073"/>
                  </a:cubicBezTo>
                  <a:cubicBezTo>
                    <a:pt x="483" y="1032"/>
                    <a:pt x="483" y="990"/>
                    <a:pt x="484" y="948"/>
                  </a:cubicBezTo>
                  <a:cubicBezTo>
                    <a:pt x="484" y="941"/>
                    <a:pt x="485" y="933"/>
                    <a:pt x="485" y="925"/>
                  </a:cubicBezTo>
                  <a:cubicBezTo>
                    <a:pt x="485" y="924"/>
                    <a:pt x="485" y="922"/>
                    <a:pt x="485" y="921"/>
                  </a:cubicBezTo>
                  <a:cubicBezTo>
                    <a:pt x="484" y="919"/>
                    <a:pt x="484" y="917"/>
                    <a:pt x="484" y="916"/>
                  </a:cubicBezTo>
                  <a:cubicBezTo>
                    <a:pt x="486" y="902"/>
                    <a:pt x="486" y="887"/>
                    <a:pt x="484" y="873"/>
                  </a:cubicBezTo>
                  <a:cubicBezTo>
                    <a:pt x="484" y="871"/>
                    <a:pt x="484" y="869"/>
                    <a:pt x="485" y="867"/>
                  </a:cubicBezTo>
                  <a:cubicBezTo>
                    <a:pt x="490" y="857"/>
                    <a:pt x="495" y="847"/>
                    <a:pt x="501" y="836"/>
                  </a:cubicBezTo>
                  <a:cubicBezTo>
                    <a:pt x="501" y="836"/>
                    <a:pt x="502" y="836"/>
                    <a:pt x="503" y="835"/>
                  </a:cubicBezTo>
                  <a:cubicBezTo>
                    <a:pt x="504" y="837"/>
                    <a:pt x="504" y="838"/>
                    <a:pt x="505" y="840"/>
                  </a:cubicBezTo>
                  <a:cubicBezTo>
                    <a:pt x="512" y="838"/>
                    <a:pt x="519" y="836"/>
                    <a:pt x="525" y="834"/>
                  </a:cubicBezTo>
                  <a:cubicBezTo>
                    <a:pt x="531" y="814"/>
                    <a:pt x="538" y="796"/>
                    <a:pt x="544" y="777"/>
                  </a:cubicBezTo>
                  <a:cubicBezTo>
                    <a:pt x="546" y="769"/>
                    <a:pt x="547" y="761"/>
                    <a:pt x="545" y="752"/>
                  </a:cubicBezTo>
                  <a:cubicBezTo>
                    <a:pt x="543" y="747"/>
                    <a:pt x="543" y="742"/>
                    <a:pt x="544" y="737"/>
                  </a:cubicBezTo>
                  <a:cubicBezTo>
                    <a:pt x="553" y="701"/>
                    <a:pt x="567" y="667"/>
                    <a:pt x="563" y="62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" name="Freeform 8">
              <a:extLst>
                <a:ext uri="{FF2B5EF4-FFF2-40B4-BE49-F238E27FC236}">
                  <a16:creationId xmlns:a16="http://schemas.microsoft.com/office/drawing/2014/main" id="{1797C320-ECEE-41AC-A504-A284D1D0A2D9}"/>
                </a:ext>
              </a:extLst>
            </p:cNvPr>
            <p:cNvSpPr>
              <a:spLocks/>
            </p:cNvSpPr>
            <p:nvPr/>
          </p:nvSpPr>
          <p:spPr bwMode="auto">
            <a:xfrm>
              <a:off x="2835275" y="2174876"/>
              <a:ext cx="1023937" cy="3121025"/>
            </a:xfrm>
            <a:custGeom>
              <a:avLst/>
              <a:gdLst>
                <a:gd name="T0" fmla="*/ 470 w 548"/>
                <a:gd name="T1" fmla="*/ 1525 h 1672"/>
                <a:gd name="T2" fmla="*/ 416 w 548"/>
                <a:gd name="T3" fmla="*/ 1497 h 1672"/>
                <a:gd name="T4" fmla="*/ 392 w 548"/>
                <a:gd name="T5" fmla="*/ 1437 h 1672"/>
                <a:gd name="T6" fmla="*/ 383 w 548"/>
                <a:gd name="T7" fmla="*/ 1265 h 1672"/>
                <a:gd name="T8" fmla="*/ 397 w 548"/>
                <a:gd name="T9" fmla="*/ 1138 h 1672"/>
                <a:gd name="T10" fmla="*/ 407 w 548"/>
                <a:gd name="T11" fmla="*/ 1002 h 1672"/>
                <a:gd name="T12" fmla="*/ 449 w 548"/>
                <a:gd name="T13" fmla="*/ 967 h 1672"/>
                <a:gd name="T14" fmla="*/ 466 w 548"/>
                <a:gd name="T15" fmla="*/ 901 h 1672"/>
                <a:gd name="T16" fmla="*/ 464 w 548"/>
                <a:gd name="T17" fmla="*/ 858 h 1672"/>
                <a:gd name="T18" fmla="*/ 463 w 548"/>
                <a:gd name="T19" fmla="*/ 702 h 1672"/>
                <a:gd name="T20" fmla="*/ 454 w 548"/>
                <a:gd name="T21" fmla="*/ 537 h 1672"/>
                <a:gd name="T22" fmla="*/ 436 w 548"/>
                <a:gd name="T23" fmla="*/ 389 h 1672"/>
                <a:gd name="T24" fmla="*/ 393 w 548"/>
                <a:gd name="T25" fmla="*/ 303 h 1672"/>
                <a:gd name="T26" fmla="*/ 309 w 548"/>
                <a:gd name="T27" fmla="*/ 262 h 1672"/>
                <a:gd name="T28" fmla="*/ 321 w 548"/>
                <a:gd name="T29" fmla="*/ 207 h 1672"/>
                <a:gd name="T30" fmla="*/ 341 w 548"/>
                <a:gd name="T31" fmla="*/ 160 h 1672"/>
                <a:gd name="T32" fmla="*/ 348 w 548"/>
                <a:gd name="T33" fmla="*/ 110 h 1672"/>
                <a:gd name="T34" fmla="*/ 341 w 548"/>
                <a:gd name="T35" fmla="*/ 79 h 1672"/>
                <a:gd name="T36" fmla="*/ 327 w 548"/>
                <a:gd name="T37" fmla="*/ 24 h 1672"/>
                <a:gd name="T38" fmla="*/ 280 w 548"/>
                <a:gd name="T39" fmla="*/ 9 h 1672"/>
                <a:gd name="T40" fmla="*/ 229 w 548"/>
                <a:gd name="T41" fmla="*/ 7 h 1672"/>
                <a:gd name="T42" fmla="*/ 200 w 548"/>
                <a:gd name="T43" fmla="*/ 24 h 1672"/>
                <a:gd name="T44" fmla="*/ 180 w 548"/>
                <a:gd name="T45" fmla="*/ 101 h 1672"/>
                <a:gd name="T46" fmla="*/ 181 w 548"/>
                <a:gd name="T47" fmla="*/ 146 h 1672"/>
                <a:gd name="T48" fmla="*/ 174 w 548"/>
                <a:gd name="T49" fmla="*/ 176 h 1672"/>
                <a:gd name="T50" fmla="*/ 197 w 548"/>
                <a:gd name="T51" fmla="*/ 210 h 1672"/>
                <a:gd name="T52" fmla="*/ 190 w 548"/>
                <a:gd name="T53" fmla="*/ 235 h 1672"/>
                <a:gd name="T54" fmla="*/ 155 w 548"/>
                <a:gd name="T55" fmla="*/ 268 h 1672"/>
                <a:gd name="T56" fmla="*/ 51 w 548"/>
                <a:gd name="T57" fmla="*/ 324 h 1672"/>
                <a:gd name="T58" fmla="*/ 21 w 548"/>
                <a:gd name="T59" fmla="*/ 427 h 1672"/>
                <a:gd name="T60" fmla="*/ 12 w 548"/>
                <a:gd name="T61" fmla="*/ 523 h 1672"/>
                <a:gd name="T62" fmla="*/ 0 w 548"/>
                <a:gd name="T63" fmla="*/ 601 h 1672"/>
                <a:gd name="T64" fmla="*/ 10 w 548"/>
                <a:gd name="T65" fmla="*/ 685 h 1672"/>
                <a:gd name="T66" fmla="*/ 49 w 548"/>
                <a:gd name="T67" fmla="*/ 800 h 1672"/>
                <a:gd name="T68" fmla="*/ 69 w 548"/>
                <a:gd name="T69" fmla="*/ 862 h 1672"/>
                <a:gd name="T70" fmla="*/ 97 w 548"/>
                <a:gd name="T71" fmla="*/ 942 h 1672"/>
                <a:gd name="T72" fmla="*/ 103 w 548"/>
                <a:gd name="T73" fmla="*/ 1090 h 1672"/>
                <a:gd name="T74" fmla="*/ 97 w 548"/>
                <a:gd name="T75" fmla="*/ 1219 h 1672"/>
                <a:gd name="T76" fmla="*/ 98 w 548"/>
                <a:gd name="T77" fmla="*/ 1270 h 1672"/>
                <a:gd name="T78" fmla="*/ 105 w 548"/>
                <a:gd name="T79" fmla="*/ 1430 h 1672"/>
                <a:gd name="T80" fmla="*/ 112 w 548"/>
                <a:gd name="T81" fmla="*/ 1552 h 1672"/>
                <a:gd name="T82" fmla="*/ 131 w 548"/>
                <a:gd name="T83" fmla="*/ 1628 h 1672"/>
                <a:gd name="T84" fmla="*/ 252 w 548"/>
                <a:gd name="T85" fmla="*/ 1648 h 1672"/>
                <a:gd name="T86" fmla="*/ 224 w 548"/>
                <a:gd name="T87" fmla="*/ 1557 h 1672"/>
                <a:gd name="T88" fmla="*/ 233 w 548"/>
                <a:gd name="T89" fmla="*/ 1452 h 1672"/>
                <a:gd name="T90" fmla="*/ 214 w 548"/>
                <a:gd name="T91" fmla="*/ 1320 h 1672"/>
                <a:gd name="T92" fmla="*/ 245 w 548"/>
                <a:gd name="T93" fmla="*/ 1202 h 1672"/>
                <a:gd name="T94" fmla="*/ 245 w 548"/>
                <a:gd name="T95" fmla="*/ 1235 h 1672"/>
                <a:gd name="T96" fmla="*/ 242 w 548"/>
                <a:gd name="T97" fmla="*/ 1340 h 1672"/>
                <a:gd name="T98" fmla="*/ 264 w 548"/>
                <a:gd name="T99" fmla="*/ 1456 h 1672"/>
                <a:gd name="T100" fmla="*/ 264 w 548"/>
                <a:gd name="T101" fmla="*/ 1545 h 1672"/>
                <a:gd name="T102" fmla="*/ 307 w 548"/>
                <a:gd name="T103" fmla="*/ 1578 h 1672"/>
                <a:gd name="T104" fmla="*/ 448 w 548"/>
                <a:gd name="T105" fmla="*/ 1585 h 1672"/>
                <a:gd name="T106" fmla="*/ 540 w 548"/>
                <a:gd name="T107" fmla="*/ 1547 h 16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48" h="1672">
                  <a:moveTo>
                    <a:pt x="529" y="1536"/>
                  </a:moveTo>
                  <a:cubicBezTo>
                    <a:pt x="522" y="1535"/>
                    <a:pt x="514" y="1532"/>
                    <a:pt x="507" y="1531"/>
                  </a:cubicBezTo>
                  <a:cubicBezTo>
                    <a:pt x="498" y="1529"/>
                    <a:pt x="489" y="1530"/>
                    <a:pt x="480" y="1528"/>
                  </a:cubicBezTo>
                  <a:cubicBezTo>
                    <a:pt x="477" y="1527"/>
                    <a:pt x="473" y="1526"/>
                    <a:pt x="470" y="1525"/>
                  </a:cubicBezTo>
                  <a:cubicBezTo>
                    <a:pt x="466" y="1525"/>
                    <a:pt x="463" y="1527"/>
                    <a:pt x="459" y="1527"/>
                  </a:cubicBezTo>
                  <a:cubicBezTo>
                    <a:pt x="454" y="1527"/>
                    <a:pt x="449" y="1525"/>
                    <a:pt x="444" y="1525"/>
                  </a:cubicBezTo>
                  <a:cubicBezTo>
                    <a:pt x="439" y="1520"/>
                    <a:pt x="435" y="1514"/>
                    <a:pt x="429" y="1510"/>
                  </a:cubicBezTo>
                  <a:cubicBezTo>
                    <a:pt x="424" y="1507"/>
                    <a:pt x="422" y="1500"/>
                    <a:pt x="416" y="1497"/>
                  </a:cubicBezTo>
                  <a:cubicBezTo>
                    <a:pt x="413" y="1492"/>
                    <a:pt x="408" y="1489"/>
                    <a:pt x="404" y="1485"/>
                  </a:cubicBezTo>
                  <a:cubicBezTo>
                    <a:pt x="400" y="1482"/>
                    <a:pt x="397" y="1479"/>
                    <a:pt x="397" y="1473"/>
                  </a:cubicBezTo>
                  <a:cubicBezTo>
                    <a:pt x="397" y="1467"/>
                    <a:pt x="396" y="1460"/>
                    <a:pt x="395" y="1454"/>
                  </a:cubicBezTo>
                  <a:cubicBezTo>
                    <a:pt x="395" y="1448"/>
                    <a:pt x="394" y="1442"/>
                    <a:pt x="392" y="1437"/>
                  </a:cubicBezTo>
                  <a:cubicBezTo>
                    <a:pt x="384" y="1423"/>
                    <a:pt x="382" y="1408"/>
                    <a:pt x="381" y="1393"/>
                  </a:cubicBezTo>
                  <a:cubicBezTo>
                    <a:pt x="379" y="1371"/>
                    <a:pt x="379" y="1348"/>
                    <a:pt x="379" y="1325"/>
                  </a:cubicBezTo>
                  <a:cubicBezTo>
                    <a:pt x="379" y="1308"/>
                    <a:pt x="380" y="1290"/>
                    <a:pt x="381" y="1272"/>
                  </a:cubicBezTo>
                  <a:cubicBezTo>
                    <a:pt x="381" y="1270"/>
                    <a:pt x="382" y="1268"/>
                    <a:pt x="383" y="1265"/>
                  </a:cubicBezTo>
                  <a:cubicBezTo>
                    <a:pt x="385" y="1258"/>
                    <a:pt x="386" y="1251"/>
                    <a:pt x="386" y="1244"/>
                  </a:cubicBezTo>
                  <a:cubicBezTo>
                    <a:pt x="386" y="1240"/>
                    <a:pt x="385" y="1235"/>
                    <a:pt x="386" y="1232"/>
                  </a:cubicBezTo>
                  <a:cubicBezTo>
                    <a:pt x="391" y="1214"/>
                    <a:pt x="391" y="1196"/>
                    <a:pt x="394" y="1179"/>
                  </a:cubicBezTo>
                  <a:cubicBezTo>
                    <a:pt x="396" y="1165"/>
                    <a:pt x="396" y="1151"/>
                    <a:pt x="397" y="1138"/>
                  </a:cubicBezTo>
                  <a:cubicBezTo>
                    <a:pt x="398" y="1122"/>
                    <a:pt x="398" y="1106"/>
                    <a:pt x="399" y="1090"/>
                  </a:cubicBezTo>
                  <a:cubicBezTo>
                    <a:pt x="399" y="1084"/>
                    <a:pt x="399" y="1078"/>
                    <a:pt x="399" y="1072"/>
                  </a:cubicBezTo>
                  <a:cubicBezTo>
                    <a:pt x="398" y="1059"/>
                    <a:pt x="401" y="1047"/>
                    <a:pt x="403" y="1035"/>
                  </a:cubicBezTo>
                  <a:cubicBezTo>
                    <a:pt x="404" y="1024"/>
                    <a:pt x="406" y="1013"/>
                    <a:pt x="407" y="1002"/>
                  </a:cubicBezTo>
                  <a:cubicBezTo>
                    <a:pt x="407" y="1001"/>
                    <a:pt x="407" y="1000"/>
                    <a:pt x="408" y="999"/>
                  </a:cubicBezTo>
                  <a:cubicBezTo>
                    <a:pt x="410" y="999"/>
                    <a:pt x="412" y="999"/>
                    <a:pt x="412" y="999"/>
                  </a:cubicBezTo>
                  <a:cubicBezTo>
                    <a:pt x="416" y="995"/>
                    <a:pt x="418" y="993"/>
                    <a:pt x="421" y="991"/>
                  </a:cubicBezTo>
                  <a:cubicBezTo>
                    <a:pt x="431" y="984"/>
                    <a:pt x="441" y="976"/>
                    <a:pt x="449" y="967"/>
                  </a:cubicBezTo>
                  <a:cubicBezTo>
                    <a:pt x="455" y="962"/>
                    <a:pt x="458" y="956"/>
                    <a:pt x="459" y="949"/>
                  </a:cubicBezTo>
                  <a:cubicBezTo>
                    <a:pt x="461" y="940"/>
                    <a:pt x="463" y="931"/>
                    <a:pt x="467" y="923"/>
                  </a:cubicBezTo>
                  <a:cubicBezTo>
                    <a:pt x="469" y="919"/>
                    <a:pt x="469" y="915"/>
                    <a:pt x="467" y="910"/>
                  </a:cubicBezTo>
                  <a:cubicBezTo>
                    <a:pt x="466" y="907"/>
                    <a:pt x="466" y="904"/>
                    <a:pt x="466" y="901"/>
                  </a:cubicBezTo>
                  <a:cubicBezTo>
                    <a:pt x="465" y="899"/>
                    <a:pt x="465" y="897"/>
                    <a:pt x="464" y="895"/>
                  </a:cubicBezTo>
                  <a:cubicBezTo>
                    <a:pt x="463" y="891"/>
                    <a:pt x="462" y="887"/>
                    <a:pt x="460" y="883"/>
                  </a:cubicBezTo>
                  <a:cubicBezTo>
                    <a:pt x="467" y="880"/>
                    <a:pt x="466" y="875"/>
                    <a:pt x="465" y="870"/>
                  </a:cubicBezTo>
                  <a:cubicBezTo>
                    <a:pt x="465" y="866"/>
                    <a:pt x="464" y="862"/>
                    <a:pt x="464" y="858"/>
                  </a:cubicBezTo>
                  <a:cubicBezTo>
                    <a:pt x="464" y="855"/>
                    <a:pt x="466" y="851"/>
                    <a:pt x="466" y="848"/>
                  </a:cubicBezTo>
                  <a:cubicBezTo>
                    <a:pt x="465" y="837"/>
                    <a:pt x="467" y="827"/>
                    <a:pt x="466" y="816"/>
                  </a:cubicBezTo>
                  <a:cubicBezTo>
                    <a:pt x="464" y="796"/>
                    <a:pt x="466" y="775"/>
                    <a:pt x="464" y="755"/>
                  </a:cubicBezTo>
                  <a:cubicBezTo>
                    <a:pt x="463" y="737"/>
                    <a:pt x="464" y="720"/>
                    <a:pt x="463" y="702"/>
                  </a:cubicBezTo>
                  <a:cubicBezTo>
                    <a:pt x="461" y="678"/>
                    <a:pt x="463" y="654"/>
                    <a:pt x="461" y="630"/>
                  </a:cubicBezTo>
                  <a:cubicBezTo>
                    <a:pt x="460" y="618"/>
                    <a:pt x="460" y="606"/>
                    <a:pt x="459" y="593"/>
                  </a:cubicBezTo>
                  <a:cubicBezTo>
                    <a:pt x="459" y="586"/>
                    <a:pt x="458" y="579"/>
                    <a:pt x="457" y="572"/>
                  </a:cubicBezTo>
                  <a:cubicBezTo>
                    <a:pt x="456" y="561"/>
                    <a:pt x="455" y="549"/>
                    <a:pt x="454" y="537"/>
                  </a:cubicBezTo>
                  <a:cubicBezTo>
                    <a:pt x="454" y="529"/>
                    <a:pt x="453" y="520"/>
                    <a:pt x="452" y="511"/>
                  </a:cubicBezTo>
                  <a:cubicBezTo>
                    <a:pt x="451" y="498"/>
                    <a:pt x="449" y="486"/>
                    <a:pt x="448" y="473"/>
                  </a:cubicBezTo>
                  <a:cubicBezTo>
                    <a:pt x="447" y="463"/>
                    <a:pt x="446" y="452"/>
                    <a:pt x="444" y="442"/>
                  </a:cubicBezTo>
                  <a:cubicBezTo>
                    <a:pt x="442" y="424"/>
                    <a:pt x="439" y="407"/>
                    <a:pt x="436" y="389"/>
                  </a:cubicBezTo>
                  <a:cubicBezTo>
                    <a:pt x="436" y="385"/>
                    <a:pt x="435" y="381"/>
                    <a:pt x="435" y="377"/>
                  </a:cubicBezTo>
                  <a:cubicBezTo>
                    <a:pt x="434" y="363"/>
                    <a:pt x="432" y="349"/>
                    <a:pt x="429" y="335"/>
                  </a:cubicBezTo>
                  <a:cubicBezTo>
                    <a:pt x="427" y="325"/>
                    <a:pt x="423" y="316"/>
                    <a:pt x="411" y="312"/>
                  </a:cubicBezTo>
                  <a:cubicBezTo>
                    <a:pt x="405" y="310"/>
                    <a:pt x="399" y="306"/>
                    <a:pt x="393" y="303"/>
                  </a:cubicBezTo>
                  <a:cubicBezTo>
                    <a:pt x="379" y="296"/>
                    <a:pt x="366" y="288"/>
                    <a:pt x="352" y="281"/>
                  </a:cubicBezTo>
                  <a:cubicBezTo>
                    <a:pt x="345" y="278"/>
                    <a:pt x="337" y="275"/>
                    <a:pt x="330" y="272"/>
                  </a:cubicBezTo>
                  <a:cubicBezTo>
                    <a:pt x="325" y="270"/>
                    <a:pt x="319" y="269"/>
                    <a:pt x="314" y="267"/>
                  </a:cubicBezTo>
                  <a:cubicBezTo>
                    <a:pt x="312" y="265"/>
                    <a:pt x="310" y="264"/>
                    <a:pt x="309" y="262"/>
                  </a:cubicBezTo>
                  <a:cubicBezTo>
                    <a:pt x="308" y="260"/>
                    <a:pt x="308" y="258"/>
                    <a:pt x="308" y="256"/>
                  </a:cubicBezTo>
                  <a:cubicBezTo>
                    <a:pt x="309" y="253"/>
                    <a:pt x="311" y="249"/>
                    <a:pt x="310" y="246"/>
                  </a:cubicBezTo>
                  <a:cubicBezTo>
                    <a:pt x="309" y="237"/>
                    <a:pt x="313" y="230"/>
                    <a:pt x="313" y="222"/>
                  </a:cubicBezTo>
                  <a:cubicBezTo>
                    <a:pt x="313" y="216"/>
                    <a:pt x="319" y="212"/>
                    <a:pt x="321" y="207"/>
                  </a:cubicBezTo>
                  <a:cubicBezTo>
                    <a:pt x="322" y="205"/>
                    <a:pt x="323" y="203"/>
                    <a:pt x="324" y="202"/>
                  </a:cubicBezTo>
                  <a:cubicBezTo>
                    <a:pt x="328" y="198"/>
                    <a:pt x="329" y="193"/>
                    <a:pt x="328" y="188"/>
                  </a:cubicBezTo>
                  <a:cubicBezTo>
                    <a:pt x="327" y="185"/>
                    <a:pt x="326" y="182"/>
                    <a:pt x="328" y="178"/>
                  </a:cubicBezTo>
                  <a:cubicBezTo>
                    <a:pt x="337" y="174"/>
                    <a:pt x="341" y="169"/>
                    <a:pt x="341" y="160"/>
                  </a:cubicBezTo>
                  <a:cubicBezTo>
                    <a:pt x="342" y="155"/>
                    <a:pt x="342" y="151"/>
                    <a:pt x="342" y="146"/>
                  </a:cubicBezTo>
                  <a:cubicBezTo>
                    <a:pt x="342" y="143"/>
                    <a:pt x="342" y="141"/>
                    <a:pt x="343" y="138"/>
                  </a:cubicBezTo>
                  <a:cubicBezTo>
                    <a:pt x="346" y="130"/>
                    <a:pt x="345" y="122"/>
                    <a:pt x="349" y="114"/>
                  </a:cubicBezTo>
                  <a:cubicBezTo>
                    <a:pt x="349" y="113"/>
                    <a:pt x="349" y="111"/>
                    <a:pt x="348" y="110"/>
                  </a:cubicBezTo>
                  <a:cubicBezTo>
                    <a:pt x="346" y="103"/>
                    <a:pt x="348" y="95"/>
                    <a:pt x="344" y="89"/>
                  </a:cubicBezTo>
                  <a:cubicBezTo>
                    <a:pt x="344" y="89"/>
                    <a:pt x="344" y="89"/>
                    <a:pt x="344" y="88"/>
                  </a:cubicBezTo>
                  <a:cubicBezTo>
                    <a:pt x="344" y="87"/>
                    <a:pt x="345" y="86"/>
                    <a:pt x="346" y="85"/>
                  </a:cubicBezTo>
                  <a:cubicBezTo>
                    <a:pt x="344" y="83"/>
                    <a:pt x="343" y="82"/>
                    <a:pt x="341" y="79"/>
                  </a:cubicBezTo>
                  <a:cubicBezTo>
                    <a:pt x="343" y="80"/>
                    <a:pt x="344" y="80"/>
                    <a:pt x="345" y="81"/>
                  </a:cubicBezTo>
                  <a:cubicBezTo>
                    <a:pt x="347" y="74"/>
                    <a:pt x="347" y="68"/>
                    <a:pt x="343" y="61"/>
                  </a:cubicBezTo>
                  <a:cubicBezTo>
                    <a:pt x="340" y="56"/>
                    <a:pt x="338" y="51"/>
                    <a:pt x="336" y="46"/>
                  </a:cubicBezTo>
                  <a:cubicBezTo>
                    <a:pt x="333" y="38"/>
                    <a:pt x="331" y="31"/>
                    <a:pt x="327" y="24"/>
                  </a:cubicBezTo>
                  <a:cubicBezTo>
                    <a:pt x="322" y="16"/>
                    <a:pt x="316" y="11"/>
                    <a:pt x="307" y="10"/>
                  </a:cubicBezTo>
                  <a:cubicBezTo>
                    <a:pt x="301" y="9"/>
                    <a:pt x="295" y="8"/>
                    <a:pt x="289" y="7"/>
                  </a:cubicBezTo>
                  <a:cubicBezTo>
                    <a:pt x="287" y="8"/>
                    <a:pt x="285" y="9"/>
                    <a:pt x="283" y="10"/>
                  </a:cubicBezTo>
                  <a:cubicBezTo>
                    <a:pt x="282" y="9"/>
                    <a:pt x="281" y="9"/>
                    <a:pt x="280" y="9"/>
                  </a:cubicBezTo>
                  <a:cubicBezTo>
                    <a:pt x="270" y="1"/>
                    <a:pt x="258" y="0"/>
                    <a:pt x="246" y="3"/>
                  </a:cubicBezTo>
                  <a:cubicBezTo>
                    <a:pt x="243" y="4"/>
                    <a:pt x="239" y="5"/>
                    <a:pt x="235" y="4"/>
                  </a:cubicBezTo>
                  <a:cubicBezTo>
                    <a:pt x="231" y="3"/>
                    <a:pt x="227" y="4"/>
                    <a:pt x="223" y="6"/>
                  </a:cubicBezTo>
                  <a:cubicBezTo>
                    <a:pt x="225" y="7"/>
                    <a:pt x="227" y="7"/>
                    <a:pt x="229" y="7"/>
                  </a:cubicBezTo>
                  <a:cubicBezTo>
                    <a:pt x="229" y="8"/>
                    <a:pt x="229" y="8"/>
                    <a:pt x="229" y="9"/>
                  </a:cubicBezTo>
                  <a:cubicBezTo>
                    <a:pt x="224" y="9"/>
                    <a:pt x="220" y="9"/>
                    <a:pt x="214" y="10"/>
                  </a:cubicBezTo>
                  <a:cubicBezTo>
                    <a:pt x="211" y="12"/>
                    <a:pt x="208" y="16"/>
                    <a:pt x="204" y="19"/>
                  </a:cubicBezTo>
                  <a:cubicBezTo>
                    <a:pt x="203" y="21"/>
                    <a:pt x="201" y="22"/>
                    <a:pt x="200" y="24"/>
                  </a:cubicBezTo>
                  <a:cubicBezTo>
                    <a:pt x="193" y="33"/>
                    <a:pt x="192" y="43"/>
                    <a:pt x="188" y="52"/>
                  </a:cubicBezTo>
                  <a:cubicBezTo>
                    <a:pt x="186" y="58"/>
                    <a:pt x="187" y="64"/>
                    <a:pt x="184" y="69"/>
                  </a:cubicBezTo>
                  <a:cubicBezTo>
                    <a:pt x="181" y="75"/>
                    <a:pt x="182" y="81"/>
                    <a:pt x="180" y="86"/>
                  </a:cubicBezTo>
                  <a:cubicBezTo>
                    <a:pt x="179" y="90"/>
                    <a:pt x="178" y="96"/>
                    <a:pt x="180" y="101"/>
                  </a:cubicBezTo>
                  <a:cubicBezTo>
                    <a:pt x="180" y="103"/>
                    <a:pt x="179" y="107"/>
                    <a:pt x="178" y="109"/>
                  </a:cubicBezTo>
                  <a:cubicBezTo>
                    <a:pt x="175" y="114"/>
                    <a:pt x="173" y="119"/>
                    <a:pt x="178" y="124"/>
                  </a:cubicBezTo>
                  <a:cubicBezTo>
                    <a:pt x="178" y="125"/>
                    <a:pt x="178" y="126"/>
                    <a:pt x="178" y="127"/>
                  </a:cubicBezTo>
                  <a:cubicBezTo>
                    <a:pt x="179" y="133"/>
                    <a:pt x="180" y="140"/>
                    <a:pt x="181" y="146"/>
                  </a:cubicBezTo>
                  <a:cubicBezTo>
                    <a:pt x="182" y="153"/>
                    <a:pt x="182" y="159"/>
                    <a:pt x="182" y="165"/>
                  </a:cubicBezTo>
                  <a:cubicBezTo>
                    <a:pt x="181" y="169"/>
                    <a:pt x="181" y="172"/>
                    <a:pt x="182" y="175"/>
                  </a:cubicBezTo>
                  <a:cubicBezTo>
                    <a:pt x="184" y="178"/>
                    <a:pt x="186" y="182"/>
                    <a:pt x="188" y="186"/>
                  </a:cubicBezTo>
                  <a:cubicBezTo>
                    <a:pt x="182" y="184"/>
                    <a:pt x="178" y="180"/>
                    <a:pt x="174" y="176"/>
                  </a:cubicBezTo>
                  <a:cubicBezTo>
                    <a:pt x="175" y="186"/>
                    <a:pt x="182" y="190"/>
                    <a:pt x="191" y="192"/>
                  </a:cubicBezTo>
                  <a:cubicBezTo>
                    <a:pt x="190" y="196"/>
                    <a:pt x="186" y="199"/>
                    <a:pt x="187" y="204"/>
                  </a:cubicBezTo>
                  <a:cubicBezTo>
                    <a:pt x="189" y="203"/>
                    <a:pt x="191" y="202"/>
                    <a:pt x="192" y="201"/>
                  </a:cubicBezTo>
                  <a:cubicBezTo>
                    <a:pt x="194" y="205"/>
                    <a:pt x="195" y="208"/>
                    <a:pt x="197" y="210"/>
                  </a:cubicBezTo>
                  <a:cubicBezTo>
                    <a:pt x="199" y="213"/>
                    <a:pt x="202" y="216"/>
                    <a:pt x="201" y="219"/>
                  </a:cubicBezTo>
                  <a:cubicBezTo>
                    <a:pt x="201" y="223"/>
                    <a:pt x="199" y="225"/>
                    <a:pt x="196" y="228"/>
                  </a:cubicBezTo>
                  <a:cubicBezTo>
                    <a:pt x="196" y="228"/>
                    <a:pt x="196" y="229"/>
                    <a:pt x="195" y="229"/>
                  </a:cubicBezTo>
                  <a:cubicBezTo>
                    <a:pt x="193" y="231"/>
                    <a:pt x="191" y="233"/>
                    <a:pt x="190" y="235"/>
                  </a:cubicBezTo>
                  <a:cubicBezTo>
                    <a:pt x="188" y="238"/>
                    <a:pt x="186" y="241"/>
                    <a:pt x="184" y="243"/>
                  </a:cubicBezTo>
                  <a:cubicBezTo>
                    <a:pt x="181" y="247"/>
                    <a:pt x="177" y="250"/>
                    <a:pt x="174" y="253"/>
                  </a:cubicBezTo>
                  <a:cubicBezTo>
                    <a:pt x="171" y="256"/>
                    <a:pt x="167" y="259"/>
                    <a:pt x="164" y="261"/>
                  </a:cubicBezTo>
                  <a:cubicBezTo>
                    <a:pt x="161" y="263"/>
                    <a:pt x="158" y="266"/>
                    <a:pt x="155" y="268"/>
                  </a:cubicBezTo>
                  <a:cubicBezTo>
                    <a:pt x="145" y="274"/>
                    <a:pt x="134" y="280"/>
                    <a:pt x="123" y="285"/>
                  </a:cubicBezTo>
                  <a:cubicBezTo>
                    <a:pt x="115" y="290"/>
                    <a:pt x="106" y="294"/>
                    <a:pt x="98" y="298"/>
                  </a:cubicBezTo>
                  <a:cubicBezTo>
                    <a:pt x="92" y="301"/>
                    <a:pt x="87" y="303"/>
                    <a:pt x="82" y="306"/>
                  </a:cubicBezTo>
                  <a:cubicBezTo>
                    <a:pt x="71" y="312"/>
                    <a:pt x="61" y="319"/>
                    <a:pt x="51" y="324"/>
                  </a:cubicBezTo>
                  <a:cubicBezTo>
                    <a:pt x="44" y="327"/>
                    <a:pt x="40" y="331"/>
                    <a:pt x="36" y="338"/>
                  </a:cubicBezTo>
                  <a:cubicBezTo>
                    <a:pt x="29" y="350"/>
                    <a:pt x="26" y="364"/>
                    <a:pt x="23" y="378"/>
                  </a:cubicBezTo>
                  <a:cubicBezTo>
                    <a:pt x="21" y="389"/>
                    <a:pt x="21" y="399"/>
                    <a:pt x="24" y="409"/>
                  </a:cubicBezTo>
                  <a:cubicBezTo>
                    <a:pt x="26" y="416"/>
                    <a:pt x="24" y="421"/>
                    <a:pt x="21" y="427"/>
                  </a:cubicBezTo>
                  <a:cubicBezTo>
                    <a:pt x="19" y="431"/>
                    <a:pt x="16" y="435"/>
                    <a:pt x="15" y="439"/>
                  </a:cubicBezTo>
                  <a:cubicBezTo>
                    <a:pt x="12" y="449"/>
                    <a:pt x="12" y="458"/>
                    <a:pt x="15" y="468"/>
                  </a:cubicBezTo>
                  <a:cubicBezTo>
                    <a:pt x="16" y="475"/>
                    <a:pt x="18" y="483"/>
                    <a:pt x="19" y="490"/>
                  </a:cubicBezTo>
                  <a:cubicBezTo>
                    <a:pt x="11" y="499"/>
                    <a:pt x="10" y="511"/>
                    <a:pt x="12" y="523"/>
                  </a:cubicBezTo>
                  <a:cubicBezTo>
                    <a:pt x="13" y="530"/>
                    <a:pt x="13" y="537"/>
                    <a:pt x="10" y="544"/>
                  </a:cubicBezTo>
                  <a:cubicBezTo>
                    <a:pt x="10" y="546"/>
                    <a:pt x="9" y="548"/>
                    <a:pt x="9" y="550"/>
                  </a:cubicBezTo>
                  <a:cubicBezTo>
                    <a:pt x="8" y="560"/>
                    <a:pt x="5" y="569"/>
                    <a:pt x="3" y="579"/>
                  </a:cubicBezTo>
                  <a:cubicBezTo>
                    <a:pt x="2" y="586"/>
                    <a:pt x="1" y="594"/>
                    <a:pt x="0" y="601"/>
                  </a:cubicBezTo>
                  <a:cubicBezTo>
                    <a:pt x="0" y="609"/>
                    <a:pt x="1" y="616"/>
                    <a:pt x="2" y="624"/>
                  </a:cubicBezTo>
                  <a:cubicBezTo>
                    <a:pt x="2" y="625"/>
                    <a:pt x="1" y="627"/>
                    <a:pt x="1" y="629"/>
                  </a:cubicBezTo>
                  <a:cubicBezTo>
                    <a:pt x="1" y="638"/>
                    <a:pt x="1" y="648"/>
                    <a:pt x="1" y="658"/>
                  </a:cubicBezTo>
                  <a:cubicBezTo>
                    <a:pt x="2" y="667"/>
                    <a:pt x="5" y="676"/>
                    <a:pt x="10" y="685"/>
                  </a:cubicBezTo>
                  <a:cubicBezTo>
                    <a:pt x="11" y="689"/>
                    <a:pt x="12" y="693"/>
                    <a:pt x="13" y="697"/>
                  </a:cubicBezTo>
                  <a:cubicBezTo>
                    <a:pt x="18" y="710"/>
                    <a:pt x="22" y="722"/>
                    <a:pt x="27" y="735"/>
                  </a:cubicBezTo>
                  <a:cubicBezTo>
                    <a:pt x="32" y="749"/>
                    <a:pt x="40" y="763"/>
                    <a:pt x="43" y="778"/>
                  </a:cubicBezTo>
                  <a:cubicBezTo>
                    <a:pt x="45" y="785"/>
                    <a:pt x="48" y="793"/>
                    <a:pt x="49" y="800"/>
                  </a:cubicBezTo>
                  <a:cubicBezTo>
                    <a:pt x="49" y="808"/>
                    <a:pt x="52" y="815"/>
                    <a:pt x="56" y="821"/>
                  </a:cubicBezTo>
                  <a:cubicBezTo>
                    <a:pt x="58" y="824"/>
                    <a:pt x="60" y="826"/>
                    <a:pt x="61" y="828"/>
                  </a:cubicBezTo>
                  <a:cubicBezTo>
                    <a:pt x="62" y="834"/>
                    <a:pt x="62" y="839"/>
                    <a:pt x="64" y="843"/>
                  </a:cubicBezTo>
                  <a:cubicBezTo>
                    <a:pt x="68" y="849"/>
                    <a:pt x="69" y="855"/>
                    <a:pt x="69" y="862"/>
                  </a:cubicBezTo>
                  <a:cubicBezTo>
                    <a:pt x="68" y="883"/>
                    <a:pt x="68" y="904"/>
                    <a:pt x="67" y="925"/>
                  </a:cubicBezTo>
                  <a:cubicBezTo>
                    <a:pt x="67" y="930"/>
                    <a:pt x="66" y="936"/>
                    <a:pt x="66" y="941"/>
                  </a:cubicBezTo>
                  <a:cubicBezTo>
                    <a:pt x="66" y="943"/>
                    <a:pt x="66" y="945"/>
                    <a:pt x="66" y="948"/>
                  </a:cubicBezTo>
                  <a:cubicBezTo>
                    <a:pt x="77" y="946"/>
                    <a:pt x="87" y="944"/>
                    <a:pt x="97" y="942"/>
                  </a:cubicBezTo>
                  <a:cubicBezTo>
                    <a:pt x="98" y="959"/>
                    <a:pt x="99" y="976"/>
                    <a:pt x="100" y="992"/>
                  </a:cubicBezTo>
                  <a:cubicBezTo>
                    <a:pt x="100" y="1014"/>
                    <a:pt x="99" y="1037"/>
                    <a:pt x="101" y="1059"/>
                  </a:cubicBezTo>
                  <a:cubicBezTo>
                    <a:pt x="102" y="1060"/>
                    <a:pt x="101" y="1060"/>
                    <a:pt x="102" y="1061"/>
                  </a:cubicBezTo>
                  <a:cubicBezTo>
                    <a:pt x="104" y="1071"/>
                    <a:pt x="105" y="1080"/>
                    <a:pt x="103" y="1090"/>
                  </a:cubicBezTo>
                  <a:cubicBezTo>
                    <a:pt x="103" y="1093"/>
                    <a:pt x="102" y="1097"/>
                    <a:pt x="102" y="1100"/>
                  </a:cubicBezTo>
                  <a:cubicBezTo>
                    <a:pt x="101" y="1108"/>
                    <a:pt x="100" y="1115"/>
                    <a:pt x="100" y="1122"/>
                  </a:cubicBezTo>
                  <a:cubicBezTo>
                    <a:pt x="99" y="1136"/>
                    <a:pt x="97" y="1149"/>
                    <a:pt x="97" y="1162"/>
                  </a:cubicBezTo>
                  <a:cubicBezTo>
                    <a:pt x="96" y="1181"/>
                    <a:pt x="96" y="1200"/>
                    <a:pt x="97" y="1219"/>
                  </a:cubicBezTo>
                  <a:cubicBezTo>
                    <a:pt x="97" y="1224"/>
                    <a:pt x="98" y="1230"/>
                    <a:pt x="98" y="1236"/>
                  </a:cubicBezTo>
                  <a:cubicBezTo>
                    <a:pt x="98" y="1238"/>
                    <a:pt x="98" y="1241"/>
                    <a:pt x="98" y="1244"/>
                  </a:cubicBezTo>
                  <a:cubicBezTo>
                    <a:pt x="98" y="1248"/>
                    <a:pt x="97" y="1252"/>
                    <a:pt x="97" y="1257"/>
                  </a:cubicBezTo>
                  <a:cubicBezTo>
                    <a:pt x="97" y="1261"/>
                    <a:pt x="98" y="1265"/>
                    <a:pt x="98" y="1270"/>
                  </a:cubicBezTo>
                  <a:cubicBezTo>
                    <a:pt x="99" y="1281"/>
                    <a:pt x="99" y="1293"/>
                    <a:pt x="99" y="1305"/>
                  </a:cubicBezTo>
                  <a:cubicBezTo>
                    <a:pt x="101" y="1327"/>
                    <a:pt x="101" y="1349"/>
                    <a:pt x="101" y="1371"/>
                  </a:cubicBezTo>
                  <a:cubicBezTo>
                    <a:pt x="102" y="1379"/>
                    <a:pt x="101" y="1387"/>
                    <a:pt x="102" y="1396"/>
                  </a:cubicBezTo>
                  <a:cubicBezTo>
                    <a:pt x="102" y="1407"/>
                    <a:pt x="104" y="1419"/>
                    <a:pt x="105" y="1430"/>
                  </a:cubicBezTo>
                  <a:cubicBezTo>
                    <a:pt x="105" y="1444"/>
                    <a:pt x="106" y="1458"/>
                    <a:pt x="111" y="1471"/>
                  </a:cubicBezTo>
                  <a:cubicBezTo>
                    <a:pt x="114" y="1481"/>
                    <a:pt x="116" y="1492"/>
                    <a:pt x="114" y="1503"/>
                  </a:cubicBezTo>
                  <a:cubicBezTo>
                    <a:pt x="110" y="1506"/>
                    <a:pt x="105" y="1509"/>
                    <a:pt x="105" y="1515"/>
                  </a:cubicBezTo>
                  <a:cubicBezTo>
                    <a:pt x="104" y="1528"/>
                    <a:pt x="105" y="1540"/>
                    <a:pt x="112" y="1552"/>
                  </a:cubicBezTo>
                  <a:cubicBezTo>
                    <a:pt x="116" y="1559"/>
                    <a:pt x="121" y="1567"/>
                    <a:pt x="123" y="1575"/>
                  </a:cubicBezTo>
                  <a:cubicBezTo>
                    <a:pt x="125" y="1583"/>
                    <a:pt x="126" y="1590"/>
                    <a:pt x="121" y="1598"/>
                  </a:cubicBezTo>
                  <a:cubicBezTo>
                    <a:pt x="118" y="1603"/>
                    <a:pt x="118" y="1610"/>
                    <a:pt x="124" y="1615"/>
                  </a:cubicBezTo>
                  <a:cubicBezTo>
                    <a:pt x="128" y="1618"/>
                    <a:pt x="130" y="1623"/>
                    <a:pt x="131" y="1628"/>
                  </a:cubicBezTo>
                  <a:cubicBezTo>
                    <a:pt x="132" y="1638"/>
                    <a:pt x="138" y="1645"/>
                    <a:pt x="147" y="1648"/>
                  </a:cubicBezTo>
                  <a:cubicBezTo>
                    <a:pt x="163" y="1655"/>
                    <a:pt x="179" y="1661"/>
                    <a:pt x="195" y="1667"/>
                  </a:cubicBezTo>
                  <a:cubicBezTo>
                    <a:pt x="204" y="1670"/>
                    <a:pt x="215" y="1672"/>
                    <a:pt x="225" y="1672"/>
                  </a:cubicBezTo>
                  <a:cubicBezTo>
                    <a:pt x="237" y="1671"/>
                    <a:pt x="248" y="1659"/>
                    <a:pt x="252" y="1648"/>
                  </a:cubicBezTo>
                  <a:cubicBezTo>
                    <a:pt x="255" y="1639"/>
                    <a:pt x="246" y="1630"/>
                    <a:pt x="247" y="1621"/>
                  </a:cubicBezTo>
                  <a:cubicBezTo>
                    <a:pt x="247" y="1616"/>
                    <a:pt x="245" y="1611"/>
                    <a:pt x="243" y="1607"/>
                  </a:cubicBezTo>
                  <a:cubicBezTo>
                    <a:pt x="236" y="1593"/>
                    <a:pt x="228" y="1580"/>
                    <a:pt x="221" y="1566"/>
                  </a:cubicBezTo>
                  <a:cubicBezTo>
                    <a:pt x="222" y="1563"/>
                    <a:pt x="223" y="1560"/>
                    <a:pt x="224" y="1557"/>
                  </a:cubicBezTo>
                  <a:cubicBezTo>
                    <a:pt x="227" y="1551"/>
                    <a:pt x="229" y="1546"/>
                    <a:pt x="231" y="1540"/>
                  </a:cubicBezTo>
                  <a:cubicBezTo>
                    <a:pt x="235" y="1531"/>
                    <a:pt x="238" y="1522"/>
                    <a:pt x="241" y="1513"/>
                  </a:cubicBezTo>
                  <a:cubicBezTo>
                    <a:pt x="244" y="1507"/>
                    <a:pt x="245" y="1502"/>
                    <a:pt x="244" y="1496"/>
                  </a:cubicBezTo>
                  <a:cubicBezTo>
                    <a:pt x="241" y="1481"/>
                    <a:pt x="238" y="1466"/>
                    <a:pt x="233" y="1452"/>
                  </a:cubicBezTo>
                  <a:cubicBezTo>
                    <a:pt x="231" y="1447"/>
                    <a:pt x="229" y="1443"/>
                    <a:pt x="225" y="1439"/>
                  </a:cubicBezTo>
                  <a:cubicBezTo>
                    <a:pt x="217" y="1430"/>
                    <a:pt x="210" y="1421"/>
                    <a:pt x="206" y="1409"/>
                  </a:cubicBezTo>
                  <a:cubicBezTo>
                    <a:pt x="211" y="1393"/>
                    <a:pt x="213" y="1376"/>
                    <a:pt x="213" y="1359"/>
                  </a:cubicBezTo>
                  <a:cubicBezTo>
                    <a:pt x="213" y="1346"/>
                    <a:pt x="212" y="1334"/>
                    <a:pt x="214" y="1320"/>
                  </a:cubicBezTo>
                  <a:cubicBezTo>
                    <a:pt x="216" y="1312"/>
                    <a:pt x="215" y="1303"/>
                    <a:pt x="216" y="1294"/>
                  </a:cubicBezTo>
                  <a:cubicBezTo>
                    <a:pt x="217" y="1286"/>
                    <a:pt x="218" y="1280"/>
                    <a:pt x="222" y="1273"/>
                  </a:cubicBezTo>
                  <a:cubicBezTo>
                    <a:pt x="231" y="1255"/>
                    <a:pt x="236" y="1235"/>
                    <a:pt x="241" y="1216"/>
                  </a:cubicBezTo>
                  <a:cubicBezTo>
                    <a:pt x="242" y="1211"/>
                    <a:pt x="243" y="1207"/>
                    <a:pt x="245" y="1202"/>
                  </a:cubicBezTo>
                  <a:cubicBezTo>
                    <a:pt x="245" y="1202"/>
                    <a:pt x="246" y="1202"/>
                    <a:pt x="246" y="1202"/>
                  </a:cubicBezTo>
                  <a:cubicBezTo>
                    <a:pt x="247" y="1208"/>
                    <a:pt x="247" y="1214"/>
                    <a:pt x="246" y="1221"/>
                  </a:cubicBezTo>
                  <a:cubicBezTo>
                    <a:pt x="246" y="1224"/>
                    <a:pt x="246" y="1226"/>
                    <a:pt x="246" y="1229"/>
                  </a:cubicBezTo>
                  <a:cubicBezTo>
                    <a:pt x="245" y="1231"/>
                    <a:pt x="245" y="1233"/>
                    <a:pt x="245" y="1235"/>
                  </a:cubicBezTo>
                  <a:cubicBezTo>
                    <a:pt x="245" y="1243"/>
                    <a:pt x="244" y="1252"/>
                    <a:pt x="244" y="1260"/>
                  </a:cubicBezTo>
                  <a:cubicBezTo>
                    <a:pt x="243" y="1266"/>
                    <a:pt x="245" y="1272"/>
                    <a:pt x="245" y="1278"/>
                  </a:cubicBezTo>
                  <a:cubicBezTo>
                    <a:pt x="245" y="1287"/>
                    <a:pt x="247" y="1297"/>
                    <a:pt x="242" y="1306"/>
                  </a:cubicBezTo>
                  <a:cubicBezTo>
                    <a:pt x="242" y="1318"/>
                    <a:pt x="241" y="1329"/>
                    <a:pt x="242" y="1340"/>
                  </a:cubicBezTo>
                  <a:cubicBezTo>
                    <a:pt x="243" y="1354"/>
                    <a:pt x="246" y="1368"/>
                    <a:pt x="246" y="1381"/>
                  </a:cubicBezTo>
                  <a:cubicBezTo>
                    <a:pt x="248" y="1397"/>
                    <a:pt x="252" y="1412"/>
                    <a:pt x="259" y="1426"/>
                  </a:cubicBezTo>
                  <a:cubicBezTo>
                    <a:pt x="263" y="1434"/>
                    <a:pt x="265" y="1441"/>
                    <a:pt x="265" y="1450"/>
                  </a:cubicBezTo>
                  <a:cubicBezTo>
                    <a:pt x="264" y="1452"/>
                    <a:pt x="264" y="1454"/>
                    <a:pt x="264" y="1456"/>
                  </a:cubicBezTo>
                  <a:cubicBezTo>
                    <a:pt x="263" y="1460"/>
                    <a:pt x="263" y="1464"/>
                    <a:pt x="263" y="1468"/>
                  </a:cubicBezTo>
                  <a:cubicBezTo>
                    <a:pt x="264" y="1479"/>
                    <a:pt x="266" y="1490"/>
                    <a:pt x="266" y="1500"/>
                  </a:cubicBezTo>
                  <a:cubicBezTo>
                    <a:pt x="267" y="1509"/>
                    <a:pt x="266" y="1518"/>
                    <a:pt x="266" y="1526"/>
                  </a:cubicBezTo>
                  <a:cubicBezTo>
                    <a:pt x="266" y="1533"/>
                    <a:pt x="267" y="1539"/>
                    <a:pt x="264" y="1545"/>
                  </a:cubicBezTo>
                  <a:cubicBezTo>
                    <a:pt x="263" y="1546"/>
                    <a:pt x="263" y="1549"/>
                    <a:pt x="263" y="1551"/>
                  </a:cubicBezTo>
                  <a:cubicBezTo>
                    <a:pt x="263" y="1554"/>
                    <a:pt x="263" y="1557"/>
                    <a:pt x="262" y="1559"/>
                  </a:cubicBezTo>
                  <a:cubicBezTo>
                    <a:pt x="259" y="1567"/>
                    <a:pt x="265" y="1571"/>
                    <a:pt x="271" y="1573"/>
                  </a:cubicBezTo>
                  <a:cubicBezTo>
                    <a:pt x="283" y="1576"/>
                    <a:pt x="295" y="1577"/>
                    <a:pt x="307" y="1578"/>
                  </a:cubicBezTo>
                  <a:cubicBezTo>
                    <a:pt x="324" y="1578"/>
                    <a:pt x="340" y="1578"/>
                    <a:pt x="357" y="1577"/>
                  </a:cubicBezTo>
                  <a:cubicBezTo>
                    <a:pt x="370" y="1575"/>
                    <a:pt x="383" y="1578"/>
                    <a:pt x="396" y="1578"/>
                  </a:cubicBezTo>
                  <a:cubicBezTo>
                    <a:pt x="396" y="1578"/>
                    <a:pt x="397" y="1579"/>
                    <a:pt x="397" y="1579"/>
                  </a:cubicBezTo>
                  <a:cubicBezTo>
                    <a:pt x="414" y="1582"/>
                    <a:pt x="431" y="1585"/>
                    <a:pt x="448" y="1585"/>
                  </a:cubicBezTo>
                  <a:cubicBezTo>
                    <a:pt x="464" y="1584"/>
                    <a:pt x="480" y="1585"/>
                    <a:pt x="495" y="1584"/>
                  </a:cubicBezTo>
                  <a:cubicBezTo>
                    <a:pt x="503" y="1584"/>
                    <a:pt x="510" y="1583"/>
                    <a:pt x="517" y="1583"/>
                  </a:cubicBezTo>
                  <a:cubicBezTo>
                    <a:pt x="522" y="1582"/>
                    <a:pt x="527" y="1580"/>
                    <a:pt x="531" y="1576"/>
                  </a:cubicBezTo>
                  <a:cubicBezTo>
                    <a:pt x="541" y="1569"/>
                    <a:pt x="548" y="1557"/>
                    <a:pt x="540" y="1547"/>
                  </a:cubicBezTo>
                  <a:cubicBezTo>
                    <a:pt x="538" y="1543"/>
                    <a:pt x="533" y="1537"/>
                    <a:pt x="529" y="153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" name="Freeform 9">
              <a:extLst>
                <a:ext uri="{FF2B5EF4-FFF2-40B4-BE49-F238E27FC236}">
                  <a16:creationId xmlns:a16="http://schemas.microsoft.com/office/drawing/2014/main" id="{0ECEAFDD-5331-4374-B30C-C3B1B8C979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47850" y="2241551"/>
              <a:ext cx="779462" cy="3062288"/>
            </a:xfrm>
            <a:custGeom>
              <a:avLst/>
              <a:gdLst>
                <a:gd name="T0" fmla="*/ 391 w 417"/>
                <a:gd name="T1" fmla="*/ 365 h 1641"/>
                <a:gd name="T2" fmla="*/ 350 w 417"/>
                <a:gd name="T3" fmla="*/ 289 h 1641"/>
                <a:gd name="T4" fmla="*/ 298 w 417"/>
                <a:gd name="T5" fmla="*/ 267 h 1641"/>
                <a:gd name="T6" fmla="*/ 284 w 417"/>
                <a:gd name="T7" fmla="*/ 246 h 1641"/>
                <a:gd name="T8" fmla="*/ 283 w 417"/>
                <a:gd name="T9" fmla="*/ 226 h 1641"/>
                <a:gd name="T10" fmla="*/ 289 w 417"/>
                <a:gd name="T11" fmla="*/ 216 h 1641"/>
                <a:gd name="T12" fmla="*/ 286 w 417"/>
                <a:gd name="T13" fmla="*/ 195 h 1641"/>
                <a:gd name="T14" fmla="*/ 301 w 417"/>
                <a:gd name="T15" fmla="*/ 200 h 1641"/>
                <a:gd name="T16" fmla="*/ 287 w 417"/>
                <a:gd name="T17" fmla="*/ 163 h 1641"/>
                <a:gd name="T18" fmla="*/ 278 w 417"/>
                <a:gd name="T19" fmla="*/ 91 h 1641"/>
                <a:gd name="T20" fmla="*/ 165 w 417"/>
                <a:gd name="T21" fmla="*/ 7 h 1641"/>
                <a:gd name="T22" fmla="*/ 116 w 417"/>
                <a:gd name="T23" fmla="*/ 30 h 1641"/>
                <a:gd name="T24" fmla="*/ 84 w 417"/>
                <a:gd name="T25" fmla="*/ 135 h 1641"/>
                <a:gd name="T26" fmla="*/ 85 w 417"/>
                <a:gd name="T27" fmla="*/ 184 h 1641"/>
                <a:gd name="T28" fmla="*/ 77 w 417"/>
                <a:gd name="T29" fmla="*/ 203 h 1641"/>
                <a:gd name="T30" fmla="*/ 70 w 417"/>
                <a:gd name="T31" fmla="*/ 214 h 1641"/>
                <a:gd name="T32" fmla="*/ 86 w 417"/>
                <a:gd name="T33" fmla="*/ 245 h 1641"/>
                <a:gd name="T34" fmla="*/ 67 w 417"/>
                <a:gd name="T35" fmla="*/ 264 h 1641"/>
                <a:gd name="T36" fmla="*/ 33 w 417"/>
                <a:gd name="T37" fmla="*/ 274 h 1641"/>
                <a:gd name="T38" fmla="*/ 0 w 417"/>
                <a:gd name="T39" fmla="*/ 346 h 1641"/>
                <a:gd name="T40" fmla="*/ 10 w 417"/>
                <a:gd name="T41" fmla="*/ 453 h 1641"/>
                <a:gd name="T42" fmla="*/ 62 w 417"/>
                <a:gd name="T43" fmla="*/ 565 h 1641"/>
                <a:gd name="T44" fmla="*/ 63 w 417"/>
                <a:gd name="T45" fmla="*/ 578 h 1641"/>
                <a:gd name="T46" fmla="*/ 51 w 417"/>
                <a:gd name="T47" fmla="*/ 631 h 1641"/>
                <a:gd name="T48" fmla="*/ 35 w 417"/>
                <a:gd name="T49" fmla="*/ 692 h 1641"/>
                <a:gd name="T50" fmla="*/ 25 w 417"/>
                <a:gd name="T51" fmla="*/ 787 h 1641"/>
                <a:gd name="T52" fmla="*/ 30 w 417"/>
                <a:gd name="T53" fmla="*/ 930 h 1641"/>
                <a:gd name="T54" fmla="*/ 39 w 417"/>
                <a:gd name="T55" fmla="*/ 1011 h 1641"/>
                <a:gd name="T56" fmla="*/ 49 w 417"/>
                <a:gd name="T57" fmla="*/ 1112 h 1641"/>
                <a:gd name="T58" fmla="*/ 70 w 417"/>
                <a:gd name="T59" fmla="*/ 1140 h 1641"/>
                <a:gd name="T60" fmla="*/ 71 w 417"/>
                <a:gd name="T61" fmla="*/ 1238 h 1641"/>
                <a:gd name="T62" fmla="*/ 119 w 417"/>
                <a:gd name="T63" fmla="*/ 1427 h 1641"/>
                <a:gd name="T64" fmla="*/ 124 w 417"/>
                <a:gd name="T65" fmla="*/ 1511 h 1641"/>
                <a:gd name="T66" fmla="*/ 115 w 417"/>
                <a:gd name="T67" fmla="*/ 1581 h 1641"/>
                <a:gd name="T68" fmla="*/ 163 w 417"/>
                <a:gd name="T69" fmla="*/ 1633 h 1641"/>
                <a:gd name="T70" fmla="*/ 188 w 417"/>
                <a:gd name="T71" fmla="*/ 1588 h 1641"/>
                <a:gd name="T72" fmla="*/ 214 w 417"/>
                <a:gd name="T73" fmla="*/ 1583 h 1641"/>
                <a:gd name="T74" fmla="*/ 289 w 417"/>
                <a:gd name="T75" fmla="*/ 1591 h 1641"/>
                <a:gd name="T76" fmla="*/ 304 w 417"/>
                <a:gd name="T77" fmla="*/ 1566 h 1641"/>
                <a:gd name="T78" fmla="*/ 230 w 417"/>
                <a:gd name="T79" fmla="*/ 1491 h 1641"/>
                <a:gd name="T80" fmla="*/ 224 w 417"/>
                <a:gd name="T81" fmla="*/ 1412 h 1641"/>
                <a:gd name="T82" fmla="*/ 287 w 417"/>
                <a:gd name="T83" fmla="*/ 1230 h 1641"/>
                <a:gd name="T84" fmla="*/ 302 w 417"/>
                <a:gd name="T85" fmla="*/ 1163 h 1641"/>
                <a:gd name="T86" fmla="*/ 333 w 417"/>
                <a:gd name="T87" fmla="*/ 1112 h 1641"/>
                <a:gd name="T88" fmla="*/ 339 w 417"/>
                <a:gd name="T89" fmla="*/ 1053 h 1641"/>
                <a:gd name="T90" fmla="*/ 353 w 417"/>
                <a:gd name="T91" fmla="*/ 939 h 1641"/>
                <a:gd name="T92" fmla="*/ 358 w 417"/>
                <a:gd name="T93" fmla="*/ 781 h 1641"/>
                <a:gd name="T94" fmla="*/ 354 w 417"/>
                <a:gd name="T95" fmla="*/ 725 h 1641"/>
                <a:gd name="T96" fmla="*/ 352 w 417"/>
                <a:gd name="T97" fmla="*/ 684 h 1641"/>
                <a:gd name="T98" fmla="*/ 350 w 417"/>
                <a:gd name="T99" fmla="*/ 648 h 1641"/>
                <a:gd name="T100" fmla="*/ 367 w 417"/>
                <a:gd name="T101" fmla="*/ 600 h 1641"/>
                <a:gd name="T102" fmla="*/ 403 w 417"/>
                <a:gd name="T103" fmla="*/ 577 h 1641"/>
                <a:gd name="T104" fmla="*/ 415 w 417"/>
                <a:gd name="T105" fmla="*/ 500 h 1641"/>
                <a:gd name="T106" fmla="*/ 205 w 417"/>
                <a:gd name="T107" fmla="*/ 1152 h 1641"/>
                <a:gd name="T108" fmla="*/ 183 w 417"/>
                <a:gd name="T109" fmla="*/ 1211 h 1641"/>
                <a:gd name="T110" fmla="*/ 184 w 417"/>
                <a:gd name="T111" fmla="*/ 1260 h 1641"/>
                <a:gd name="T112" fmla="*/ 178 w 417"/>
                <a:gd name="T113" fmla="*/ 1293 h 1641"/>
                <a:gd name="T114" fmla="*/ 174 w 417"/>
                <a:gd name="T115" fmla="*/ 1316 h 1641"/>
                <a:gd name="T116" fmla="*/ 171 w 417"/>
                <a:gd name="T117" fmla="*/ 1201 h 1641"/>
                <a:gd name="T118" fmla="*/ 178 w 417"/>
                <a:gd name="T119" fmla="*/ 1146 h 16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17" h="1641">
                  <a:moveTo>
                    <a:pt x="410" y="464"/>
                  </a:moveTo>
                  <a:cubicBezTo>
                    <a:pt x="407" y="446"/>
                    <a:pt x="403" y="429"/>
                    <a:pt x="400" y="411"/>
                  </a:cubicBezTo>
                  <a:cubicBezTo>
                    <a:pt x="397" y="396"/>
                    <a:pt x="393" y="380"/>
                    <a:pt x="391" y="365"/>
                  </a:cubicBezTo>
                  <a:cubicBezTo>
                    <a:pt x="387" y="340"/>
                    <a:pt x="377" y="319"/>
                    <a:pt x="366" y="298"/>
                  </a:cubicBezTo>
                  <a:cubicBezTo>
                    <a:pt x="364" y="293"/>
                    <a:pt x="359" y="290"/>
                    <a:pt x="354" y="290"/>
                  </a:cubicBezTo>
                  <a:cubicBezTo>
                    <a:pt x="352" y="290"/>
                    <a:pt x="351" y="290"/>
                    <a:pt x="350" y="289"/>
                  </a:cubicBezTo>
                  <a:cubicBezTo>
                    <a:pt x="340" y="287"/>
                    <a:pt x="331" y="285"/>
                    <a:pt x="320" y="283"/>
                  </a:cubicBezTo>
                  <a:cubicBezTo>
                    <a:pt x="315" y="279"/>
                    <a:pt x="308" y="275"/>
                    <a:pt x="302" y="271"/>
                  </a:cubicBezTo>
                  <a:cubicBezTo>
                    <a:pt x="300" y="270"/>
                    <a:pt x="299" y="269"/>
                    <a:pt x="298" y="267"/>
                  </a:cubicBezTo>
                  <a:cubicBezTo>
                    <a:pt x="303" y="267"/>
                    <a:pt x="307" y="266"/>
                    <a:pt x="311" y="266"/>
                  </a:cubicBezTo>
                  <a:cubicBezTo>
                    <a:pt x="304" y="263"/>
                    <a:pt x="297" y="259"/>
                    <a:pt x="290" y="256"/>
                  </a:cubicBezTo>
                  <a:cubicBezTo>
                    <a:pt x="290" y="251"/>
                    <a:pt x="287" y="249"/>
                    <a:pt x="284" y="246"/>
                  </a:cubicBezTo>
                  <a:cubicBezTo>
                    <a:pt x="282" y="243"/>
                    <a:pt x="279" y="241"/>
                    <a:pt x="277" y="238"/>
                  </a:cubicBezTo>
                  <a:cubicBezTo>
                    <a:pt x="282" y="241"/>
                    <a:pt x="287" y="238"/>
                    <a:pt x="292" y="238"/>
                  </a:cubicBezTo>
                  <a:cubicBezTo>
                    <a:pt x="289" y="234"/>
                    <a:pt x="286" y="230"/>
                    <a:pt x="283" y="226"/>
                  </a:cubicBezTo>
                  <a:cubicBezTo>
                    <a:pt x="277" y="221"/>
                    <a:pt x="275" y="214"/>
                    <a:pt x="275" y="206"/>
                  </a:cubicBezTo>
                  <a:cubicBezTo>
                    <a:pt x="275" y="204"/>
                    <a:pt x="276" y="203"/>
                    <a:pt x="277" y="200"/>
                  </a:cubicBezTo>
                  <a:cubicBezTo>
                    <a:pt x="280" y="207"/>
                    <a:pt x="282" y="211"/>
                    <a:pt x="289" y="216"/>
                  </a:cubicBezTo>
                  <a:cubicBezTo>
                    <a:pt x="286" y="211"/>
                    <a:pt x="285" y="208"/>
                    <a:pt x="283" y="205"/>
                  </a:cubicBezTo>
                  <a:cubicBezTo>
                    <a:pt x="287" y="203"/>
                    <a:pt x="285" y="200"/>
                    <a:pt x="285" y="197"/>
                  </a:cubicBezTo>
                  <a:cubicBezTo>
                    <a:pt x="284" y="197"/>
                    <a:pt x="285" y="196"/>
                    <a:pt x="286" y="195"/>
                  </a:cubicBezTo>
                  <a:cubicBezTo>
                    <a:pt x="287" y="196"/>
                    <a:pt x="288" y="197"/>
                    <a:pt x="288" y="198"/>
                  </a:cubicBezTo>
                  <a:cubicBezTo>
                    <a:pt x="289" y="198"/>
                    <a:pt x="290" y="197"/>
                    <a:pt x="291" y="197"/>
                  </a:cubicBezTo>
                  <a:cubicBezTo>
                    <a:pt x="294" y="198"/>
                    <a:pt x="296" y="203"/>
                    <a:pt x="301" y="200"/>
                  </a:cubicBezTo>
                  <a:cubicBezTo>
                    <a:pt x="296" y="191"/>
                    <a:pt x="291" y="182"/>
                    <a:pt x="288" y="173"/>
                  </a:cubicBezTo>
                  <a:cubicBezTo>
                    <a:pt x="289" y="173"/>
                    <a:pt x="290" y="172"/>
                    <a:pt x="291" y="172"/>
                  </a:cubicBezTo>
                  <a:cubicBezTo>
                    <a:pt x="289" y="168"/>
                    <a:pt x="288" y="165"/>
                    <a:pt x="287" y="163"/>
                  </a:cubicBezTo>
                  <a:cubicBezTo>
                    <a:pt x="287" y="161"/>
                    <a:pt x="288" y="159"/>
                    <a:pt x="288" y="158"/>
                  </a:cubicBezTo>
                  <a:cubicBezTo>
                    <a:pt x="288" y="155"/>
                    <a:pt x="287" y="152"/>
                    <a:pt x="288" y="149"/>
                  </a:cubicBezTo>
                  <a:cubicBezTo>
                    <a:pt x="289" y="129"/>
                    <a:pt x="284" y="110"/>
                    <a:pt x="278" y="91"/>
                  </a:cubicBezTo>
                  <a:cubicBezTo>
                    <a:pt x="271" y="70"/>
                    <a:pt x="259" y="52"/>
                    <a:pt x="244" y="36"/>
                  </a:cubicBezTo>
                  <a:cubicBezTo>
                    <a:pt x="227" y="18"/>
                    <a:pt x="205" y="8"/>
                    <a:pt x="181" y="2"/>
                  </a:cubicBezTo>
                  <a:cubicBezTo>
                    <a:pt x="176" y="1"/>
                    <a:pt x="169" y="0"/>
                    <a:pt x="165" y="7"/>
                  </a:cubicBezTo>
                  <a:cubicBezTo>
                    <a:pt x="163" y="9"/>
                    <a:pt x="160" y="10"/>
                    <a:pt x="157" y="8"/>
                  </a:cubicBezTo>
                  <a:cubicBezTo>
                    <a:pt x="151" y="5"/>
                    <a:pt x="145" y="6"/>
                    <a:pt x="140" y="9"/>
                  </a:cubicBezTo>
                  <a:cubicBezTo>
                    <a:pt x="131" y="14"/>
                    <a:pt x="121" y="20"/>
                    <a:pt x="116" y="30"/>
                  </a:cubicBezTo>
                  <a:cubicBezTo>
                    <a:pt x="115" y="32"/>
                    <a:pt x="113" y="34"/>
                    <a:pt x="111" y="37"/>
                  </a:cubicBezTo>
                  <a:cubicBezTo>
                    <a:pt x="104" y="49"/>
                    <a:pt x="97" y="61"/>
                    <a:pt x="93" y="74"/>
                  </a:cubicBezTo>
                  <a:cubicBezTo>
                    <a:pt x="85" y="94"/>
                    <a:pt x="85" y="114"/>
                    <a:pt x="84" y="135"/>
                  </a:cubicBezTo>
                  <a:cubicBezTo>
                    <a:pt x="83" y="138"/>
                    <a:pt x="85" y="142"/>
                    <a:pt x="85" y="145"/>
                  </a:cubicBezTo>
                  <a:cubicBezTo>
                    <a:pt x="85" y="156"/>
                    <a:pt x="85" y="168"/>
                    <a:pt x="85" y="180"/>
                  </a:cubicBezTo>
                  <a:cubicBezTo>
                    <a:pt x="85" y="181"/>
                    <a:pt x="85" y="183"/>
                    <a:pt x="85" y="184"/>
                  </a:cubicBezTo>
                  <a:cubicBezTo>
                    <a:pt x="81" y="190"/>
                    <a:pt x="78" y="196"/>
                    <a:pt x="75" y="203"/>
                  </a:cubicBezTo>
                  <a:cubicBezTo>
                    <a:pt x="75" y="203"/>
                    <a:pt x="75" y="203"/>
                    <a:pt x="75" y="204"/>
                  </a:cubicBezTo>
                  <a:cubicBezTo>
                    <a:pt x="76" y="204"/>
                    <a:pt x="77" y="204"/>
                    <a:pt x="77" y="203"/>
                  </a:cubicBezTo>
                  <a:cubicBezTo>
                    <a:pt x="78" y="203"/>
                    <a:pt x="79" y="203"/>
                    <a:pt x="80" y="202"/>
                  </a:cubicBezTo>
                  <a:cubicBezTo>
                    <a:pt x="80" y="202"/>
                    <a:pt x="80" y="203"/>
                    <a:pt x="80" y="203"/>
                  </a:cubicBezTo>
                  <a:cubicBezTo>
                    <a:pt x="77" y="206"/>
                    <a:pt x="74" y="210"/>
                    <a:pt x="70" y="214"/>
                  </a:cubicBezTo>
                  <a:cubicBezTo>
                    <a:pt x="74" y="214"/>
                    <a:pt x="76" y="214"/>
                    <a:pt x="77" y="215"/>
                  </a:cubicBezTo>
                  <a:cubicBezTo>
                    <a:pt x="82" y="219"/>
                    <a:pt x="80" y="223"/>
                    <a:pt x="78" y="228"/>
                  </a:cubicBezTo>
                  <a:cubicBezTo>
                    <a:pt x="84" y="232"/>
                    <a:pt x="83" y="239"/>
                    <a:pt x="86" y="245"/>
                  </a:cubicBezTo>
                  <a:cubicBezTo>
                    <a:pt x="85" y="246"/>
                    <a:pt x="83" y="249"/>
                    <a:pt x="81" y="251"/>
                  </a:cubicBezTo>
                  <a:cubicBezTo>
                    <a:pt x="81" y="253"/>
                    <a:pt x="81" y="255"/>
                    <a:pt x="82" y="257"/>
                  </a:cubicBezTo>
                  <a:cubicBezTo>
                    <a:pt x="77" y="261"/>
                    <a:pt x="72" y="263"/>
                    <a:pt x="67" y="264"/>
                  </a:cubicBezTo>
                  <a:cubicBezTo>
                    <a:pt x="61" y="265"/>
                    <a:pt x="56" y="262"/>
                    <a:pt x="51" y="258"/>
                  </a:cubicBezTo>
                  <a:cubicBezTo>
                    <a:pt x="52" y="262"/>
                    <a:pt x="53" y="267"/>
                    <a:pt x="54" y="271"/>
                  </a:cubicBezTo>
                  <a:cubicBezTo>
                    <a:pt x="47" y="272"/>
                    <a:pt x="40" y="274"/>
                    <a:pt x="33" y="274"/>
                  </a:cubicBezTo>
                  <a:cubicBezTo>
                    <a:pt x="25" y="275"/>
                    <a:pt x="20" y="278"/>
                    <a:pt x="17" y="285"/>
                  </a:cubicBezTo>
                  <a:cubicBezTo>
                    <a:pt x="12" y="296"/>
                    <a:pt x="7" y="307"/>
                    <a:pt x="4" y="318"/>
                  </a:cubicBezTo>
                  <a:cubicBezTo>
                    <a:pt x="2" y="327"/>
                    <a:pt x="1" y="337"/>
                    <a:pt x="0" y="346"/>
                  </a:cubicBezTo>
                  <a:cubicBezTo>
                    <a:pt x="0" y="356"/>
                    <a:pt x="2" y="365"/>
                    <a:pt x="2" y="374"/>
                  </a:cubicBezTo>
                  <a:cubicBezTo>
                    <a:pt x="2" y="385"/>
                    <a:pt x="2" y="396"/>
                    <a:pt x="2" y="407"/>
                  </a:cubicBezTo>
                  <a:cubicBezTo>
                    <a:pt x="2" y="423"/>
                    <a:pt x="4" y="438"/>
                    <a:pt x="10" y="453"/>
                  </a:cubicBezTo>
                  <a:cubicBezTo>
                    <a:pt x="15" y="469"/>
                    <a:pt x="21" y="484"/>
                    <a:pt x="28" y="499"/>
                  </a:cubicBezTo>
                  <a:cubicBezTo>
                    <a:pt x="35" y="516"/>
                    <a:pt x="45" y="531"/>
                    <a:pt x="56" y="546"/>
                  </a:cubicBezTo>
                  <a:cubicBezTo>
                    <a:pt x="61" y="551"/>
                    <a:pt x="63" y="558"/>
                    <a:pt x="62" y="565"/>
                  </a:cubicBezTo>
                  <a:cubicBezTo>
                    <a:pt x="61" y="567"/>
                    <a:pt x="61" y="569"/>
                    <a:pt x="62" y="571"/>
                  </a:cubicBezTo>
                  <a:cubicBezTo>
                    <a:pt x="62" y="572"/>
                    <a:pt x="63" y="573"/>
                    <a:pt x="63" y="575"/>
                  </a:cubicBezTo>
                  <a:cubicBezTo>
                    <a:pt x="63" y="576"/>
                    <a:pt x="63" y="577"/>
                    <a:pt x="63" y="578"/>
                  </a:cubicBezTo>
                  <a:cubicBezTo>
                    <a:pt x="63" y="581"/>
                    <a:pt x="62" y="583"/>
                    <a:pt x="61" y="586"/>
                  </a:cubicBezTo>
                  <a:cubicBezTo>
                    <a:pt x="58" y="594"/>
                    <a:pt x="57" y="603"/>
                    <a:pt x="55" y="611"/>
                  </a:cubicBezTo>
                  <a:cubicBezTo>
                    <a:pt x="53" y="618"/>
                    <a:pt x="51" y="624"/>
                    <a:pt x="51" y="631"/>
                  </a:cubicBezTo>
                  <a:cubicBezTo>
                    <a:pt x="51" y="639"/>
                    <a:pt x="49" y="646"/>
                    <a:pt x="44" y="652"/>
                  </a:cubicBezTo>
                  <a:cubicBezTo>
                    <a:pt x="38" y="662"/>
                    <a:pt x="35" y="673"/>
                    <a:pt x="33" y="684"/>
                  </a:cubicBezTo>
                  <a:cubicBezTo>
                    <a:pt x="33" y="686"/>
                    <a:pt x="34" y="689"/>
                    <a:pt x="35" y="692"/>
                  </a:cubicBezTo>
                  <a:cubicBezTo>
                    <a:pt x="35" y="694"/>
                    <a:pt x="36" y="696"/>
                    <a:pt x="35" y="698"/>
                  </a:cubicBezTo>
                  <a:cubicBezTo>
                    <a:pt x="31" y="713"/>
                    <a:pt x="28" y="728"/>
                    <a:pt x="28" y="744"/>
                  </a:cubicBezTo>
                  <a:cubicBezTo>
                    <a:pt x="27" y="758"/>
                    <a:pt x="25" y="772"/>
                    <a:pt x="25" y="787"/>
                  </a:cubicBezTo>
                  <a:cubicBezTo>
                    <a:pt x="25" y="801"/>
                    <a:pt x="25" y="815"/>
                    <a:pt x="26" y="829"/>
                  </a:cubicBezTo>
                  <a:cubicBezTo>
                    <a:pt x="27" y="854"/>
                    <a:pt x="26" y="879"/>
                    <a:pt x="28" y="904"/>
                  </a:cubicBezTo>
                  <a:cubicBezTo>
                    <a:pt x="29" y="912"/>
                    <a:pt x="29" y="921"/>
                    <a:pt x="30" y="930"/>
                  </a:cubicBezTo>
                  <a:cubicBezTo>
                    <a:pt x="30" y="935"/>
                    <a:pt x="31" y="940"/>
                    <a:pt x="32" y="945"/>
                  </a:cubicBezTo>
                  <a:cubicBezTo>
                    <a:pt x="33" y="955"/>
                    <a:pt x="35" y="965"/>
                    <a:pt x="36" y="975"/>
                  </a:cubicBezTo>
                  <a:cubicBezTo>
                    <a:pt x="37" y="987"/>
                    <a:pt x="38" y="999"/>
                    <a:pt x="39" y="1011"/>
                  </a:cubicBezTo>
                  <a:cubicBezTo>
                    <a:pt x="41" y="1024"/>
                    <a:pt x="42" y="1038"/>
                    <a:pt x="43" y="1052"/>
                  </a:cubicBezTo>
                  <a:cubicBezTo>
                    <a:pt x="43" y="1064"/>
                    <a:pt x="43" y="1075"/>
                    <a:pt x="43" y="1087"/>
                  </a:cubicBezTo>
                  <a:cubicBezTo>
                    <a:pt x="42" y="1096"/>
                    <a:pt x="43" y="1104"/>
                    <a:pt x="49" y="1112"/>
                  </a:cubicBezTo>
                  <a:cubicBezTo>
                    <a:pt x="52" y="1116"/>
                    <a:pt x="55" y="1119"/>
                    <a:pt x="59" y="1120"/>
                  </a:cubicBezTo>
                  <a:cubicBezTo>
                    <a:pt x="63" y="1121"/>
                    <a:pt x="67" y="1123"/>
                    <a:pt x="70" y="1125"/>
                  </a:cubicBezTo>
                  <a:cubicBezTo>
                    <a:pt x="70" y="1131"/>
                    <a:pt x="71" y="1135"/>
                    <a:pt x="70" y="1140"/>
                  </a:cubicBezTo>
                  <a:cubicBezTo>
                    <a:pt x="69" y="1150"/>
                    <a:pt x="67" y="1160"/>
                    <a:pt x="67" y="1170"/>
                  </a:cubicBezTo>
                  <a:cubicBezTo>
                    <a:pt x="67" y="1186"/>
                    <a:pt x="68" y="1203"/>
                    <a:pt x="69" y="1219"/>
                  </a:cubicBezTo>
                  <a:cubicBezTo>
                    <a:pt x="69" y="1225"/>
                    <a:pt x="70" y="1232"/>
                    <a:pt x="71" y="1238"/>
                  </a:cubicBezTo>
                  <a:cubicBezTo>
                    <a:pt x="76" y="1264"/>
                    <a:pt x="80" y="1290"/>
                    <a:pt x="87" y="1316"/>
                  </a:cubicBezTo>
                  <a:cubicBezTo>
                    <a:pt x="94" y="1342"/>
                    <a:pt x="101" y="1368"/>
                    <a:pt x="108" y="1393"/>
                  </a:cubicBezTo>
                  <a:cubicBezTo>
                    <a:pt x="111" y="1405"/>
                    <a:pt x="116" y="1416"/>
                    <a:pt x="119" y="1427"/>
                  </a:cubicBezTo>
                  <a:cubicBezTo>
                    <a:pt x="124" y="1441"/>
                    <a:pt x="127" y="1454"/>
                    <a:pt x="126" y="1469"/>
                  </a:cubicBezTo>
                  <a:cubicBezTo>
                    <a:pt x="125" y="1474"/>
                    <a:pt x="125" y="1480"/>
                    <a:pt x="126" y="1486"/>
                  </a:cubicBezTo>
                  <a:cubicBezTo>
                    <a:pt x="127" y="1494"/>
                    <a:pt x="126" y="1502"/>
                    <a:pt x="124" y="1511"/>
                  </a:cubicBezTo>
                  <a:cubicBezTo>
                    <a:pt x="123" y="1518"/>
                    <a:pt x="122" y="1527"/>
                    <a:pt x="121" y="1535"/>
                  </a:cubicBezTo>
                  <a:cubicBezTo>
                    <a:pt x="120" y="1539"/>
                    <a:pt x="120" y="1543"/>
                    <a:pt x="119" y="1547"/>
                  </a:cubicBezTo>
                  <a:cubicBezTo>
                    <a:pt x="118" y="1559"/>
                    <a:pt x="116" y="1570"/>
                    <a:pt x="115" y="1581"/>
                  </a:cubicBezTo>
                  <a:cubicBezTo>
                    <a:pt x="114" y="1593"/>
                    <a:pt x="114" y="1605"/>
                    <a:pt x="122" y="1614"/>
                  </a:cubicBezTo>
                  <a:cubicBezTo>
                    <a:pt x="127" y="1619"/>
                    <a:pt x="132" y="1625"/>
                    <a:pt x="137" y="1629"/>
                  </a:cubicBezTo>
                  <a:cubicBezTo>
                    <a:pt x="145" y="1635"/>
                    <a:pt x="153" y="1641"/>
                    <a:pt x="163" y="1633"/>
                  </a:cubicBezTo>
                  <a:cubicBezTo>
                    <a:pt x="163" y="1633"/>
                    <a:pt x="163" y="1632"/>
                    <a:pt x="163" y="1632"/>
                  </a:cubicBezTo>
                  <a:cubicBezTo>
                    <a:pt x="172" y="1630"/>
                    <a:pt x="177" y="1624"/>
                    <a:pt x="181" y="1616"/>
                  </a:cubicBezTo>
                  <a:cubicBezTo>
                    <a:pt x="186" y="1607"/>
                    <a:pt x="188" y="1598"/>
                    <a:pt x="188" y="1588"/>
                  </a:cubicBezTo>
                  <a:cubicBezTo>
                    <a:pt x="188" y="1585"/>
                    <a:pt x="188" y="1581"/>
                    <a:pt x="188" y="1577"/>
                  </a:cubicBezTo>
                  <a:cubicBezTo>
                    <a:pt x="195" y="1582"/>
                    <a:pt x="202" y="1583"/>
                    <a:pt x="210" y="1583"/>
                  </a:cubicBezTo>
                  <a:cubicBezTo>
                    <a:pt x="211" y="1583"/>
                    <a:pt x="213" y="1583"/>
                    <a:pt x="214" y="1583"/>
                  </a:cubicBezTo>
                  <a:cubicBezTo>
                    <a:pt x="225" y="1585"/>
                    <a:pt x="237" y="1587"/>
                    <a:pt x="248" y="1588"/>
                  </a:cubicBezTo>
                  <a:cubicBezTo>
                    <a:pt x="255" y="1589"/>
                    <a:pt x="261" y="1589"/>
                    <a:pt x="268" y="1590"/>
                  </a:cubicBezTo>
                  <a:cubicBezTo>
                    <a:pt x="275" y="1590"/>
                    <a:pt x="282" y="1592"/>
                    <a:pt x="289" y="1591"/>
                  </a:cubicBezTo>
                  <a:cubicBezTo>
                    <a:pt x="293" y="1591"/>
                    <a:pt x="296" y="1589"/>
                    <a:pt x="299" y="1588"/>
                  </a:cubicBezTo>
                  <a:cubicBezTo>
                    <a:pt x="302" y="1586"/>
                    <a:pt x="305" y="1584"/>
                    <a:pt x="308" y="1582"/>
                  </a:cubicBezTo>
                  <a:cubicBezTo>
                    <a:pt x="315" y="1577"/>
                    <a:pt x="312" y="1568"/>
                    <a:pt x="304" y="1566"/>
                  </a:cubicBezTo>
                  <a:cubicBezTo>
                    <a:pt x="290" y="1563"/>
                    <a:pt x="277" y="1557"/>
                    <a:pt x="265" y="1549"/>
                  </a:cubicBezTo>
                  <a:cubicBezTo>
                    <a:pt x="258" y="1545"/>
                    <a:pt x="255" y="1539"/>
                    <a:pt x="250" y="1533"/>
                  </a:cubicBezTo>
                  <a:cubicBezTo>
                    <a:pt x="239" y="1521"/>
                    <a:pt x="236" y="1506"/>
                    <a:pt x="230" y="1491"/>
                  </a:cubicBezTo>
                  <a:cubicBezTo>
                    <a:pt x="228" y="1484"/>
                    <a:pt x="225" y="1478"/>
                    <a:pt x="222" y="1471"/>
                  </a:cubicBezTo>
                  <a:cubicBezTo>
                    <a:pt x="217" y="1456"/>
                    <a:pt x="221" y="1442"/>
                    <a:pt x="221" y="1427"/>
                  </a:cubicBezTo>
                  <a:cubicBezTo>
                    <a:pt x="222" y="1422"/>
                    <a:pt x="223" y="1417"/>
                    <a:pt x="224" y="1412"/>
                  </a:cubicBezTo>
                  <a:cubicBezTo>
                    <a:pt x="230" y="1392"/>
                    <a:pt x="237" y="1373"/>
                    <a:pt x="244" y="1354"/>
                  </a:cubicBezTo>
                  <a:cubicBezTo>
                    <a:pt x="249" y="1338"/>
                    <a:pt x="255" y="1322"/>
                    <a:pt x="261" y="1307"/>
                  </a:cubicBezTo>
                  <a:cubicBezTo>
                    <a:pt x="271" y="1282"/>
                    <a:pt x="280" y="1256"/>
                    <a:pt x="287" y="1230"/>
                  </a:cubicBezTo>
                  <a:cubicBezTo>
                    <a:pt x="290" y="1218"/>
                    <a:pt x="292" y="1205"/>
                    <a:pt x="294" y="1192"/>
                  </a:cubicBezTo>
                  <a:cubicBezTo>
                    <a:pt x="296" y="1184"/>
                    <a:pt x="296" y="1175"/>
                    <a:pt x="301" y="1167"/>
                  </a:cubicBezTo>
                  <a:cubicBezTo>
                    <a:pt x="302" y="1166"/>
                    <a:pt x="302" y="1164"/>
                    <a:pt x="302" y="1163"/>
                  </a:cubicBezTo>
                  <a:cubicBezTo>
                    <a:pt x="307" y="1151"/>
                    <a:pt x="312" y="1139"/>
                    <a:pt x="316" y="1128"/>
                  </a:cubicBezTo>
                  <a:cubicBezTo>
                    <a:pt x="321" y="1126"/>
                    <a:pt x="324" y="1124"/>
                    <a:pt x="328" y="1122"/>
                  </a:cubicBezTo>
                  <a:cubicBezTo>
                    <a:pt x="332" y="1120"/>
                    <a:pt x="334" y="1117"/>
                    <a:pt x="333" y="1112"/>
                  </a:cubicBezTo>
                  <a:cubicBezTo>
                    <a:pt x="333" y="1109"/>
                    <a:pt x="333" y="1106"/>
                    <a:pt x="334" y="1103"/>
                  </a:cubicBezTo>
                  <a:cubicBezTo>
                    <a:pt x="335" y="1094"/>
                    <a:pt x="336" y="1084"/>
                    <a:pt x="337" y="1074"/>
                  </a:cubicBezTo>
                  <a:cubicBezTo>
                    <a:pt x="337" y="1067"/>
                    <a:pt x="338" y="1060"/>
                    <a:pt x="339" y="1053"/>
                  </a:cubicBezTo>
                  <a:cubicBezTo>
                    <a:pt x="340" y="1042"/>
                    <a:pt x="342" y="1032"/>
                    <a:pt x="343" y="1022"/>
                  </a:cubicBezTo>
                  <a:cubicBezTo>
                    <a:pt x="344" y="1011"/>
                    <a:pt x="345" y="1001"/>
                    <a:pt x="347" y="990"/>
                  </a:cubicBezTo>
                  <a:cubicBezTo>
                    <a:pt x="349" y="973"/>
                    <a:pt x="351" y="956"/>
                    <a:pt x="353" y="939"/>
                  </a:cubicBezTo>
                  <a:cubicBezTo>
                    <a:pt x="354" y="926"/>
                    <a:pt x="356" y="913"/>
                    <a:pt x="356" y="899"/>
                  </a:cubicBezTo>
                  <a:cubicBezTo>
                    <a:pt x="356" y="881"/>
                    <a:pt x="358" y="863"/>
                    <a:pt x="359" y="846"/>
                  </a:cubicBezTo>
                  <a:cubicBezTo>
                    <a:pt x="360" y="824"/>
                    <a:pt x="358" y="802"/>
                    <a:pt x="358" y="781"/>
                  </a:cubicBezTo>
                  <a:cubicBezTo>
                    <a:pt x="358" y="780"/>
                    <a:pt x="358" y="780"/>
                    <a:pt x="358" y="780"/>
                  </a:cubicBezTo>
                  <a:cubicBezTo>
                    <a:pt x="357" y="766"/>
                    <a:pt x="356" y="753"/>
                    <a:pt x="355" y="739"/>
                  </a:cubicBezTo>
                  <a:cubicBezTo>
                    <a:pt x="354" y="735"/>
                    <a:pt x="355" y="729"/>
                    <a:pt x="354" y="725"/>
                  </a:cubicBezTo>
                  <a:cubicBezTo>
                    <a:pt x="353" y="719"/>
                    <a:pt x="352" y="712"/>
                    <a:pt x="351" y="706"/>
                  </a:cubicBezTo>
                  <a:cubicBezTo>
                    <a:pt x="351" y="704"/>
                    <a:pt x="350" y="701"/>
                    <a:pt x="349" y="698"/>
                  </a:cubicBezTo>
                  <a:cubicBezTo>
                    <a:pt x="348" y="693"/>
                    <a:pt x="347" y="687"/>
                    <a:pt x="352" y="684"/>
                  </a:cubicBezTo>
                  <a:cubicBezTo>
                    <a:pt x="352" y="684"/>
                    <a:pt x="356" y="682"/>
                    <a:pt x="356" y="681"/>
                  </a:cubicBezTo>
                  <a:cubicBezTo>
                    <a:pt x="356" y="679"/>
                    <a:pt x="356" y="677"/>
                    <a:pt x="356" y="676"/>
                  </a:cubicBezTo>
                  <a:cubicBezTo>
                    <a:pt x="354" y="667"/>
                    <a:pt x="353" y="657"/>
                    <a:pt x="350" y="648"/>
                  </a:cubicBezTo>
                  <a:cubicBezTo>
                    <a:pt x="345" y="635"/>
                    <a:pt x="342" y="621"/>
                    <a:pt x="341" y="606"/>
                  </a:cubicBezTo>
                  <a:cubicBezTo>
                    <a:pt x="348" y="602"/>
                    <a:pt x="356" y="602"/>
                    <a:pt x="364" y="600"/>
                  </a:cubicBezTo>
                  <a:cubicBezTo>
                    <a:pt x="365" y="599"/>
                    <a:pt x="366" y="600"/>
                    <a:pt x="367" y="600"/>
                  </a:cubicBezTo>
                  <a:cubicBezTo>
                    <a:pt x="370" y="601"/>
                    <a:pt x="373" y="601"/>
                    <a:pt x="377" y="600"/>
                  </a:cubicBezTo>
                  <a:cubicBezTo>
                    <a:pt x="384" y="599"/>
                    <a:pt x="388" y="594"/>
                    <a:pt x="394" y="591"/>
                  </a:cubicBezTo>
                  <a:cubicBezTo>
                    <a:pt x="399" y="588"/>
                    <a:pt x="402" y="583"/>
                    <a:pt x="403" y="577"/>
                  </a:cubicBezTo>
                  <a:cubicBezTo>
                    <a:pt x="405" y="571"/>
                    <a:pt x="406" y="566"/>
                    <a:pt x="406" y="561"/>
                  </a:cubicBezTo>
                  <a:cubicBezTo>
                    <a:pt x="408" y="546"/>
                    <a:pt x="412" y="531"/>
                    <a:pt x="412" y="515"/>
                  </a:cubicBezTo>
                  <a:cubicBezTo>
                    <a:pt x="412" y="510"/>
                    <a:pt x="413" y="505"/>
                    <a:pt x="415" y="500"/>
                  </a:cubicBezTo>
                  <a:cubicBezTo>
                    <a:pt x="417" y="495"/>
                    <a:pt x="417" y="490"/>
                    <a:pt x="416" y="485"/>
                  </a:cubicBezTo>
                  <a:cubicBezTo>
                    <a:pt x="414" y="478"/>
                    <a:pt x="412" y="471"/>
                    <a:pt x="410" y="464"/>
                  </a:cubicBezTo>
                  <a:close/>
                  <a:moveTo>
                    <a:pt x="205" y="1152"/>
                  </a:moveTo>
                  <a:cubicBezTo>
                    <a:pt x="202" y="1158"/>
                    <a:pt x="199" y="1165"/>
                    <a:pt x="196" y="1171"/>
                  </a:cubicBezTo>
                  <a:cubicBezTo>
                    <a:pt x="194" y="1176"/>
                    <a:pt x="191" y="1180"/>
                    <a:pt x="190" y="1185"/>
                  </a:cubicBezTo>
                  <a:cubicBezTo>
                    <a:pt x="188" y="1193"/>
                    <a:pt x="186" y="1202"/>
                    <a:pt x="183" y="1211"/>
                  </a:cubicBezTo>
                  <a:cubicBezTo>
                    <a:pt x="183" y="1212"/>
                    <a:pt x="183" y="1214"/>
                    <a:pt x="183" y="1215"/>
                  </a:cubicBezTo>
                  <a:cubicBezTo>
                    <a:pt x="184" y="1222"/>
                    <a:pt x="185" y="1229"/>
                    <a:pt x="183" y="1236"/>
                  </a:cubicBezTo>
                  <a:cubicBezTo>
                    <a:pt x="181" y="1243"/>
                    <a:pt x="183" y="1252"/>
                    <a:pt x="184" y="1260"/>
                  </a:cubicBezTo>
                  <a:cubicBezTo>
                    <a:pt x="185" y="1266"/>
                    <a:pt x="185" y="1266"/>
                    <a:pt x="180" y="1272"/>
                  </a:cubicBezTo>
                  <a:cubicBezTo>
                    <a:pt x="180" y="1276"/>
                    <a:pt x="180" y="1280"/>
                    <a:pt x="180" y="1283"/>
                  </a:cubicBezTo>
                  <a:cubicBezTo>
                    <a:pt x="180" y="1287"/>
                    <a:pt x="180" y="1290"/>
                    <a:pt x="178" y="1293"/>
                  </a:cubicBezTo>
                  <a:cubicBezTo>
                    <a:pt x="177" y="1294"/>
                    <a:pt x="177" y="1297"/>
                    <a:pt x="177" y="1299"/>
                  </a:cubicBezTo>
                  <a:cubicBezTo>
                    <a:pt x="176" y="1303"/>
                    <a:pt x="177" y="1307"/>
                    <a:pt x="176" y="1311"/>
                  </a:cubicBezTo>
                  <a:cubicBezTo>
                    <a:pt x="176" y="1313"/>
                    <a:pt x="176" y="1314"/>
                    <a:pt x="174" y="1316"/>
                  </a:cubicBezTo>
                  <a:cubicBezTo>
                    <a:pt x="174" y="1314"/>
                    <a:pt x="173" y="1312"/>
                    <a:pt x="173" y="1309"/>
                  </a:cubicBezTo>
                  <a:cubicBezTo>
                    <a:pt x="173" y="1277"/>
                    <a:pt x="173" y="1245"/>
                    <a:pt x="173" y="1212"/>
                  </a:cubicBezTo>
                  <a:cubicBezTo>
                    <a:pt x="173" y="1208"/>
                    <a:pt x="174" y="1204"/>
                    <a:pt x="171" y="1201"/>
                  </a:cubicBezTo>
                  <a:cubicBezTo>
                    <a:pt x="170" y="1200"/>
                    <a:pt x="170" y="1198"/>
                    <a:pt x="170" y="1197"/>
                  </a:cubicBezTo>
                  <a:cubicBezTo>
                    <a:pt x="170" y="1182"/>
                    <a:pt x="170" y="1168"/>
                    <a:pt x="170" y="1153"/>
                  </a:cubicBezTo>
                  <a:cubicBezTo>
                    <a:pt x="172" y="1151"/>
                    <a:pt x="175" y="1149"/>
                    <a:pt x="178" y="1146"/>
                  </a:cubicBezTo>
                  <a:cubicBezTo>
                    <a:pt x="186" y="1146"/>
                    <a:pt x="195" y="1146"/>
                    <a:pt x="204" y="1146"/>
                  </a:cubicBezTo>
                  <a:cubicBezTo>
                    <a:pt x="206" y="1148"/>
                    <a:pt x="206" y="1150"/>
                    <a:pt x="205" y="115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" name="Freeform 10">
              <a:extLst>
                <a:ext uri="{FF2B5EF4-FFF2-40B4-BE49-F238E27FC236}">
                  <a16:creationId xmlns:a16="http://schemas.microsoft.com/office/drawing/2014/main" id="{30C64509-D547-49CF-89CE-0FBE7241EAB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45088" y="2212976"/>
              <a:ext cx="811212" cy="3089275"/>
            </a:xfrm>
            <a:custGeom>
              <a:avLst/>
              <a:gdLst>
                <a:gd name="T0" fmla="*/ 8 w 434"/>
                <a:gd name="T1" fmla="*/ 537 h 1655"/>
                <a:gd name="T2" fmla="*/ 16 w 434"/>
                <a:gd name="T3" fmla="*/ 605 h 1655"/>
                <a:gd name="T4" fmla="*/ 29 w 434"/>
                <a:gd name="T5" fmla="*/ 687 h 1655"/>
                <a:gd name="T6" fmla="*/ 32 w 434"/>
                <a:gd name="T7" fmla="*/ 745 h 1655"/>
                <a:gd name="T8" fmla="*/ 39 w 434"/>
                <a:gd name="T9" fmla="*/ 790 h 1655"/>
                <a:gd name="T10" fmla="*/ 47 w 434"/>
                <a:gd name="T11" fmla="*/ 864 h 1655"/>
                <a:gd name="T12" fmla="*/ 81 w 434"/>
                <a:gd name="T13" fmla="*/ 1016 h 1655"/>
                <a:gd name="T14" fmla="*/ 99 w 434"/>
                <a:gd name="T15" fmla="*/ 1114 h 1655"/>
                <a:gd name="T16" fmla="*/ 121 w 434"/>
                <a:gd name="T17" fmla="*/ 1235 h 1655"/>
                <a:gd name="T18" fmla="*/ 135 w 434"/>
                <a:gd name="T19" fmla="*/ 1327 h 1655"/>
                <a:gd name="T20" fmla="*/ 130 w 434"/>
                <a:gd name="T21" fmla="*/ 1488 h 1655"/>
                <a:gd name="T22" fmla="*/ 118 w 434"/>
                <a:gd name="T23" fmla="*/ 1520 h 1655"/>
                <a:gd name="T24" fmla="*/ 70 w 434"/>
                <a:gd name="T25" fmla="*/ 1539 h 1655"/>
                <a:gd name="T26" fmla="*/ 112 w 434"/>
                <a:gd name="T27" fmla="*/ 1566 h 1655"/>
                <a:gd name="T28" fmla="*/ 115 w 434"/>
                <a:gd name="T29" fmla="*/ 1626 h 1655"/>
                <a:gd name="T30" fmla="*/ 206 w 434"/>
                <a:gd name="T31" fmla="*/ 1615 h 1655"/>
                <a:gd name="T32" fmla="*/ 258 w 434"/>
                <a:gd name="T33" fmla="*/ 1574 h 1655"/>
                <a:gd name="T34" fmla="*/ 287 w 434"/>
                <a:gd name="T35" fmla="*/ 1516 h 1655"/>
                <a:gd name="T36" fmla="*/ 279 w 434"/>
                <a:gd name="T37" fmla="*/ 1440 h 1655"/>
                <a:gd name="T38" fmla="*/ 272 w 434"/>
                <a:gd name="T39" fmla="*/ 1368 h 1655"/>
                <a:gd name="T40" fmla="*/ 267 w 434"/>
                <a:gd name="T41" fmla="*/ 1280 h 1655"/>
                <a:gd name="T42" fmla="*/ 271 w 434"/>
                <a:gd name="T43" fmla="*/ 1228 h 1655"/>
                <a:gd name="T44" fmla="*/ 279 w 434"/>
                <a:gd name="T45" fmla="*/ 1126 h 1655"/>
                <a:gd name="T46" fmla="*/ 293 w 434"/>
                <a:gd name="T47" fmla="*/ 1014 h 1655"/>
                <a:gd name="T48" fmla="*/ 298 w 434"/>
                <a:gd name="T49" fmla="*/ 957 h 1655"/>
                <a:gd name="T50" fmla="*/ 315 w 434"/>
                <a:gd name="T51" fmla="*/ 871 h 1655"/>
                <a:gd name="T52" fmla="*/ 331 w 434"/>
                <a:gd name="T53" fmla="*/ 801 h 1655"/>
                <a:gd name="T54" fmla="*/ 360 w 434"/>
                <a:gd name="T55" fmla="*/ 802 h 1655"/>
                <a:gd name="T56" fmla="*/ 393 w 434"/>
                <a:gd name="T57" fmla="*/ 718 h 1655"/>
                <a:gd name="T58" fmla="*/ 408 w 434"/>
                <a:gd name="T59" fmla="*/ 657 h 1655"/>
                <a:gd name="T60" fmla="*/ 433 w 434"/>
                <a:gd name="T61" fmla="*/ 572 h 1655"/>
                <a:gd name="T62" fmla="*/ 418 w 434"/>
                <a:gd name="T63" fmla="*/ 507 h 1655"/>
                <a:gd name="T64" fmla="*/ 373 w 434"/>
                <a:gd name="T65" fmla="*/ 389 h 1655"/>
                <a:gd name="T66" fmla="*/ 349 w 434"/>
                <a:gd name="T67" fmla="*/ 328 h 1655"/>
                <a:gd name="T68" fmla="*/ 324 w 434"/>
                <a:gd name="T69" fmla="*/ 262 h 1655"/>
                <a:gd name="T70" fmla="*/ 242 w 434"/>
                <a:gd name="T71" fmla="*/ 236 h 1655"/>
                <a:gd name="T72" fmla="*/ 226 w 434"/>
                <a:gd name="T73" fmla="*/ 218 h 1655"/>
                <a:gd name="T74" fmla="*/ 245 w 434"/>
                <a:gd name="T75" fmla="*/ 176 h 1655"/>
                <a:gd name="T76" fmla="*/ 230 w 434"/>
                <a:gd name="T77" fmla="*/ 80 h 1655"/>
                <a:gd name="T78" fmla="*/ 167 w 434"/>
                <a:gd name="T79" fmla="*/ 1 h 1655"/>
                <a:gd name="T80" fmla="*/ 102 w 434"/>
                <a:gd name="T81" fmla="*/ 15 h 1655"/>
                <a:gd name="T82" fmla="*/ 53 w 434"/>
                <a:gd name="T83" fmla="*/ 103 h 1655"/>
                <a:gd name="T84" fmla="*/ 44 w 434"/>
                <a:gd name="T85" fmla="*/ 142 h 1655"/>
                <a:gd name="T86" fmla="*/ 46 w 434"/>
                <a:gd name="T87" fmla="*/ 179 h 1655"/>
                <a:gd name="T88" fmla="*/ 82 w 434"/>
                <a:gd name="T89" fmla="*/ 225 h 1655"/>
                <a:gd name="T90" fmla="*/ 91 w 434"/>
                <a:gd name="T91" fmla="*/ 227 h 1655"/>
                <a:gd name="T92" fmla="*/ 63 w 434"/>
                <a:gd name="T93" fmla="*/ 257 h 1655"/>
                <a:gd name="T94" fmla="*/ 18 w 434"/>
                <a:gd name="T95" fmla="*/ 290 h 1655"/>
                <a:gd name="T96" fmla="*/ 18 w 434"/>
                <a:gd name="T97" fmla="*/ 364 h 1655"/>
                <a:gd name="T98" fmla="*/ 13 w 434"/>
                <a:gd name="T99" fmla="*/ 442 h 1655"/>
                <a:gd name="T100" fmla="*/ 8 w 434"/>
                <a:gd name="T101" fmla="*/ 498 h 1655"/>
                <a:gd name="T102" fmla="*/ 298 w 434"/>
                <a:gd name="T103" fmla="*/ 538 h 1655"/>
                <a:gd name="T104" fmla="*/ 325 w 434"/>
                <a:gd name="T105" fmla="*/ 534 h 1655"/>
                <a:gd name="T106" fmla="*/ 322 w 434"/>
                <a:gd name="T107" fmla="*/ 583 h 1655"/>
                <a:gd name="T108" fmla="*/ 319 w 434"/>
                <a:gd name="T109" fmla="*/ 659 h 1655"/>
                <a:gd name="T110" fmla="*/ 307 w 434"/>
                <a:gd name="T111" fmla="*/ 620 h 1655"/>
                <a:gd name="T112" fmla="*/ 295 w 434"/>
                <a:gd name="T113" fmla="*/ 566 h 16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34" h="1655">
                  <a:moveTo>
                    <a:pt x="8" y="498"/>
                  </a:moveTo>
                  <a:cubicBezTo>
                    <a:pt x="4" y="506"/>
                    <a:pt x="0" y="513"/>
                    <a:pt x="4" y="522"/>
                  </a:cubicBezTo>
                  <a:cubicBezTo>
                    <a:pt x="6" y="527"/>
                    <a:pt x="7" y="532"/>
                    <a:pt x="8" y="537"/>
                  </a:cubicBezTo>
                  <a:cubicBezTo>
                    <a:pt x="10" y="545"/>
                    <a:pt x="11" y="554"/>
                    <a:pt x="12" y="562"/>
                  </a:cubicBezTo>
                  <a:cubicBezTo>
                    <a:pt x="14" y="574"/>
                    <a:pt x="15" y="586"/>
                    <a:pt x="16" y="598"/>
                  </a:cubicBezTo>
                  <a:cubicBezTo>
                    <a:pt x="16" y="600"/>
                    <a:pt x="16" y="603"/>
                    <a:pt x="16" y="605"/>
                  </a:cubicBezTo>
                  <a:cubicBezTo>
                    <a:pt x="15" y="614"/>
                    <a:pt x="17" y="621"/>
                    <a:pt x="20" y="629"/>
                  </a:cubicBezTo>
                  <a:cubicBezTo>
                    <a:pt x="21" y="632"/>
                    <a:pt x="22" y="635"/>
                    <a:pt x="22" y="638"/>
                  </a:cubicBezTo>
                  <a:cubicBezTo>
                    <a:pt x="21" y="654"/>
                    <a:pt x="25" y="671"/>
                    <a:pt x="29" y="687"/>
                  </a:cubicBezTo>
                  <a:cubicBezTo>
                    <a:pt x="31" y="694"/>
                    <a:pt x="29" y="701"/>
                    <a:pt x="28" y="708"/>
                  </a:cubicBezTo>
                  <a:cubicBezTo>
                    <a:pt x="27" y="715"/>
                    <a:pt x="25" y="722"/>
                    <a:pt x="24" y="729"/>
                  </a:cubicBezTo>
                  <a:cubicBezTo>
                    <a:pt x="23" y="736"/>
                    <a:pt x="26" y="742"/>
                    <a:pt x="32" y="745"/>
                  </a:cubicBezTo>
                  <a:cubicBezTo>
                    <a:pt x="34" y="746"/>
                    <a:pt x="35" y="747"/>
                    <a:pt x="37" y="748"/>
                  </a:cubicBezTo>
                  <a:cubicBezTo>
                    <a:pt x="30" y="760"/>
                    <a:pt x="28" y="773"/>
                    <a:pt x="28" y="787"/>
                  </a:cubicBezTo>
                  <a:cubicBezTo>
                    <a:pt x="31" y="791"/>
                    <a:pt x="35" y="790"/>
                    <a:pt x="39" y="790"/>
                  </a:cubicBezTo>
                  <a:cubicBezTo>
                    <a:pt x="41" y="794"/>
                    <a:pt x="42" y="798"/>
                    <a:pt x="42" y="803"/>
                  </a:cubicBezTo>
                  <a:cubicBezTo>
                    <a:pt x="42" y="816"/>
                    <a:pt x="43" y="830"/>
                    <a:pt x="44" y="843"/>
                  </a:cubicBezTo>
                  <a:cubicBezTo>
                    <a:pt x="44" y="850"/>
                    <a:pt x="46" y="857"/>
                    <a:pt x="47" y="864"/>
                  </a:cubicBezTo>
                  <a:cubicBezTo>
                    <a:pt x="48" y="874"/>
                    <a:pt x="50" y="884"/>
                    <a:pt x="51" y="893"/>
                  </a:cubicBezTo>
                  <a:cubicBezTo>
                    <a:pt x="54" y="906"/>
                    <a:pt x="56" y="918"/>
                    <a:pt x="59" y="930"/>
                  </a:cubicBezTo>
                  <a:cubicBezTo>
                    <a:pt x="66" y="959"/>
                    <a:pt x="74" y="987"/>
                    <a:pt x="81" y="1016"/>
                  </a:cubicBezTo>
                  <a:cubicBezTo>
                    <a:pt x="86" y="1033"/>
                    <a:pt x="90" y="1050"/>
                    <a:pt x="93" y="1066"/>
                  </a:cubicBezTo>
                  <a:cubicBezTo>
                    <a:pt x="95" y="1072"/>
                    <a:pt x="95" y="1077"/>
                    <a:pt x="96" y="1082"/>
                  </a:cubicBezTo>
                  <a:cubicBezTo>
                    <a:pt x="97" y="1093"/>
                    <a:pt x="98" y="1103"/>
                    <a:pt x="99" y="1114"/>
                  </a:cubicBezTo>
                  <a:cubicBezTo>
                    <a:pt x="101" y="1125"/>
                    <a:pt x="102" y="1136"/>
                    <a:pt x="104" y="1147"/>
                  </a:cubicBezTo>
                  <a:cubicBezTo>
                    <a:pt x="106" y="1159"/>
                    <a:pt x="108" y="1172"/>
                    <a:pt x="110" y="1184"/>
                  </a:cubicBezTo>
                  <a:cubicBezTo>
                    <a:pt x="113" y="1201"/>
                    <a:pt x="117" y="1218"/>
                    <a:pt x="121" y="1235"/>
                  </a:cubicBezTo>
                  <a:cubicBezTo>
                    <a:pt x="125" y="1254"/>
                    <a:pt x="130" y="1272"/>
                    <a:pt x="134" y="1290"/>
                  </a:cubicBezTo>
                  <a:cubicBezTo>
                    <a:pt x="137" y="1301"/>
                    <a:pt x="137" y="1312"/>
                    <a:pt x="135" y="1323"/>
                  </a:cubicBezTo>
                  <a:cubicBezTo>
                    <a:pt x="135" y="1324"/>
                    <a:pt x="135" y="1326"/>
                    <a:pt x="135" y="1327"/>
                  </a:cubicBezTo>
                  <a:cubicBezTo>
                    <a:pt x="134" y="1345"/>
                    <a:pt x="134" y="1363"/>
                    <a:pt x="133" y="1381"/>
                  </a:cubicBezTo>
                  <a:cubicBezTo>
                    <a:pt x="131" y="1400"/>
                    <a:pt x="133" y="1419"/>
                    <a:pt x="131" y="1438"/>
                  </a:cubicBezTo>
                  <a:cubicBezTo>
                    <a:pt x="130" y="1455"/>
                    <a:pt x="131" y="1471"/>
                    <a:pt x="130" y="1488"/>
                  </a:cubicBezTo>
                  <a:cubicBezTo>
                    <a:pt x="130" y="1491"/>
                    <a:pt x="129" y="1494"/>
                    <a:pt x="127" y="1498"/>
                  </a:cubicBezTo>
                  <a:cubicBezTo>
                    <a:pt x="126" y="1503"/>
                    <a:pt x="124" y="1507"/>
                    <a:pt x="122" y="1512"/>
                  </a:cubicBezTo>
                  <a:cubicBezTo>
                    <a:pt x="120" y="1515"/>
                    <a:pt x="119" y="1518"/>
                    <a:pt x="118" y="1520"/>
                  </a:cubicBezTo>
                  <a:cubicBezTo>
                    <a:pt x="105" y="1522"/>
                    <a:pt x="94" y="1525"/>
                    <a:pt x="83" y="1527"/>
                  </a:cubicBezTo>
                  <a:cubicBezTo>
                    <a:pt x="81" y="1528"/>
                    <a:pt x="79" y="1529"/>
                    <a:pt x="76" y="1530"/>
                  </a:cubicBezTo>
                  <a:cubicBezTo>
                    <a:pt x="72" y="1531"/>
                    <a:pt x="70" y="1534"/>
                    <a:pt x="70" y="1539"/>
                  </a:cubicBezTo>
                  <a:cubicBezTo>
                    <a:pt x="69" y="1541"/>
                    <a:pt x="69" y="1544"/>
                    <a:pt x="69" y="1546"/>
                  </a:cubicBezTo>
                  <a:cubicBezTo>
                    <a:pt x="72" y="1555"/>
                    <a:pt x="80" y="1559"/>
                    <a:pt x="89" y="1562"/>
                  </a:cubicBezTo>
                  <a:cubicBezTo>
                    <a:pt x="97" y="1564"/>
                    <a:pt x="105" y="1565"/>
                    <a:pt x="112" y="1566"/>
                  </a:cubicBezTo>
                  <a:cubicBezTo>
                    <a:pt x="120" y="1568"/>
                    <a:pt x="122" y="1570"/>
                    <a:pt x="122" y="1579"/>
                  </a:cubicBezTo>
                  <a:cubicBezTo>
                    <a:pt x="122" y="1587"/>
                    <a:pt x="120" y="1595"/>
                    <a:pt x="118" y="1603"/>
                  </a:cubicBezTo>
                  <a:cubicBezTo>
                    <a:pt x="116" y="1610"/>
                    <a:pt x="114" y="1618"/>
                    <a:pt x="115" y="1626"/>
                  </a:cubicBezTo>
                  <a:cubicBezTo>
                    <a:pt x="116" y="1641"/>
                    <a:pt x="132" y="1655"/>
                    <a:pt x="152" y="1651"/>
                  </a:cubicBezTo>
                  <a:cubicBezTo>
                    <a:pt x="166" y="1648"/>
                    <a:pt x="179" y="1642"/>
                    <a:pt x="192" y="1635"/>
                  </a:cubicBezTo>
                  <a:cubicBezTo>
                    <a:pt x="199" y="1631"/>
                    <a:pt x="205" y="1624"/>
                    <a:pt x="206" y="1615"/>
                  </a:cubicBezTo>
                  <a:cubicBezTo>
                    <a:pt x="209" y="1604"/>
                    <a:pt x="213" y="1601"/>
                    <a:pt x="226" y="1599"/>
                  </a:cubicBezTo>
                  <a:cubicBezTo>
                    <a:pt x="232" y="1598"/>
                    <a:pt x="239" y="1597"/>
                    <a:pt x="244" y="1595"/>
                  </a:cubicBezTo>
                  <a:cubicBezTo>
                    <a:pt x="253" y="1591"/>
                    <a:pt x="257" y="1584"/>
                    <a:pt x="258" y="1574"/>
                  </a:cubicBezTo>
                  <a:cubicBezTo>
                    <a:pt x="258" y="1568"/>
                    <a:pt x="259" y="1562"/>
                    <a:pt x="261" y="1556"/>
                  </a:cubicBezTo>
                  <a:cubicBezTo>
                    <a:pt x="263" y="1546"/>
                    <a:pt x="270" y="1540"/>
                    <a:pt x="278" y="1535"/>
                  </a:cubicBezTo>
                  <a:cubicBezTo>
                    <a:pt x="286" y="1530"/>
                    <a:pt x="289" y="1525"/>
                    <a:pt x="287" y="1516"/>
                  </a:cubicBezTo>
                  <a:cubicBezTo>
                    <a:pt x="286" y="1509"/>
                    <a:pt x="286" y="1502"/>
                    <a:pt x="285" y="1496"/>
                  </a:cubicBezTo>
                  <a:cubicBezTo>
                    <a:pt x="285" y="1490"/>
                    <a:pt x="284" y="1485"/>
                    <a:pt x="284" y="1480"/>
                  </a:cubicBezTo>
                  <a:cubicBezTo>
                    <a:pt x="282" y="1467"/>
                    <a:pt x="280" y="1453"/>
                    <a:pt x="279" y="1440"/>
                  </a:cubicBezTo>
                  <a:cubicBezTo>
                    <a:pt x="278" y="1432"/>
                    <a:pt x="278" y="1424"/>
                    <a:pt x="277" y="1415"/>
                  </a:cubicBezTo>
                  <a:cubicBezTo>
                    <a:pt x="276" y="1407"/>
                    <a:pt x="275" y="1398"/>
                    <a:pt x="274" y="1389"/>
                  </a:cubicBezTo>
                  <a:cubicBezTo>
                    <a:pt x="274" y="1382"/>
                    <a:pt x="273" y="1375"/>
                    <a:pt x="272" y="1368"/>
                  </a:cubicBezTo>
                  <a:cubicBezTo>
                    <a:pt x="271" y="1359"/>
                    <a:pt x="270" y="1350"/>
                    <a:pt x="269" y="1341"/>
                  </a:cubicBezTo>
                  <a:cubicBezTo>
                    <a:pt x="269" y="1336"/>
                    <a:pt x="268" y="1330"/>
                    <a:pt x="268" y="1325"/>
                  </a:cubicBezTo>
                  <a:cubicBezTo>
                    <a:pt x="267" y="1310"/>
                    <a:pt x="264" y="1295"/>
                    <a:pt x="267" y="1280"/>
                  </a:cubicBezTo>
                  <a:cubicBezTo>
                    <a:pt x="268" y="1276"/>
                    <a:pt x="267" y="1271"/>
                    <a:pt x="267" y="1267"/>
                  </a:cubicBezTo>
                  <a:cubicBezTo>
                    <a:pt x="267" y="1255"/>
                    <a:pt x="268" y="1244"/>
                    <a:pt x="270" y="1233"/>
                  </a:cubicBezTo>
                  <a:cubicBezTo>
                    <a:pt x="271" y="1231"/>
                    <a:pt x="271" y="1230"/>
                    <a:pt x="271" y="1228"/>
                  </a:cubicBezTo>
                  <a:cubicBezTo>
                    <a:pt x="270" y="1213"/>
                    <a:pt x="272" y="1199"/>
                    <a:pt x="274" y="1184"/>
                  </a:cubicBezTo>
                  <a:cubicBezTo>
                    <a:pt x="274" y="1183"/>
                    <a:pt x="274" y="1182"/>
                    <a:pt x="274" y="1181"/>
                  </a:cubicBezTo>
                  <a:cubicBezTo>
                    <a:pt x="274" y="1163"/>
                    <a:pt x="275" y="1144"/>
                    <a:pt x="279" y="1126"/>
                  </a:cubicBezTo>
                  <a:cubicBezTo>
                    <a:pt x="281" y="1111"/>
                    <a:pt x="283" y="1096"/>
                    <a:pt x="285" y="1081"/>
                  </a:cubicBezTo>
                  <a:cubicBezTo>
                    <a:pt x="286" y="1070"/>
                    <a:pt x="287" y="1059"/>
                    <a:pt x="289" y="1049"/>
                  </a:cubicBezTo>
                  <a:cubicBezTo>
                    <a:pt x="290" y="1037"/>
                    <a:pt x="292" y="1026"/>
                    <a:pt x="293" y="1014"/>
                  </a:cubicBezTo>
                  <a:cubicBezTo>
                    <a:pt x="294" y="1006"/>
                    <a:pt x="294" y="998"/>
                    <a:pt x="295" y="990"/>
                  </a:cubicBezTo>
                  <a:cubicBezTo>
                    <a:pt x="296" y="982"/>
                    <a:pt x="297" y="973"/>
                    <a:pt x="298" y="965"/>
                  </a:cubicBezTo>
                  <a:cubicBezTo>
                    <a:pt x="298" y="962"/>
                    <a:pt x="298" y="959"/>
                    <a:pt x="298" y="957"/>
                  </a:cubicBezTo>
                  <a:cubicBezTo>
                    <a:pt x="300" y="943"/>
                    <a:pt x="300" y="929"/>
                    <a:pt x="305" y="915"/>
                  </a:cubicBezTo>
                  <a:cubicBezTo>
                    <a:pt x="308" y="908"/>
                    <a:pt x="309" y="900"/>
                    <a:pt x="312" y="892"/>
                  </a:cubicBezTo>
                  <a:cubicBezTo>
                    <a:pt x="314" y="885"/>
                    <a:pt x="315" y="878"/>
                    <a:pt x="315" y="871"/>
                  </a:cubicBezTo>
                  <a:cubicBezTo>
                    <a:pt x="315" y="869"/>
                    <a:pt x="315" y="866"/>
                    <a:pt x="316" y="863"/>
                  </a:cubicBezTo>
                  <a:cubicBezTo>
                    <a:pt x="320" y="851"/>
                    <a:pt x="324" y="838"/>
                    <a:pt x="328" y="825"/>
                  </a:cubicBezTo>
                  <a:cubicBezTo>
                    <a:pt x="330" y="818"/>
                    <a:pt x="330" y="809"/>
                    <a:pt x="331" y="801"/>
                  </a:cubicBezTo>
                  <a:cubicBezTo>
                    <a:pt x="331" y="798"/>
                    <a:pt x="331" y="795"/>
                    <a:pt x="331" y="791"/>
                  </a:cubicBezTo>
                  <a:cubicBezTo>
                    <a:pt x="337" y="793"/>
                    <a:pt x="341" y="795"/>
                    <a:pt x="346" y="797"/>
                  </a:cubicBezTo>
                  <a:cubicBezTo>
                    <a:pt x="351" y="798"/>
                    <a:pt x="355" y="800"/>
                    <a:pt x="360" y="802"/>
                  </a:cubicBezTo>
                  <a:cubicBezTo>
                    <a:pt x="364" y="797"/>
                    <a:pt x="366" y="791"/>
                    <a:pt x="369" y="785"/>
                  </a:cubicBezTo>
                  <a:cubicBezTo>
                    <a:pt x="374" y="772"/>
                    <a:pt x="379" y="759"/>
                    <a:pt x="384" y="746"/>
                  </a:cubicBezTo>
                  <a:cubicBezTo>
                    <a:pt x="388" y="737"/>
                    <a:pt x="392" y="728"/>
                    <a:pt x="393" y="718"/>
                  </a:cubicBezTo>
                  <a:cubicBezTo>
                    <a:pt x="393" y="715"/>
                    <a:pt x="395" y="711"/>
                    <a:pt x="397" y="709"/>
                  </a:cubicBezTo>
                  <a:cubicBezTo>
                    <a:pt x="400" y="703"/>
                    <a:pt x="400" y="702"/>
                    <a:pt x="396" y="696"/>
                  </a:cubicBezTo>
                  <a:cubicBezTo>
                    <a:pt x="400" y="683"/>
                    <a:pt x="404" y="670"/>
                    <a:pt x="408" y="657"/>
                  </a:cubicBezTo>
                  <a:cubicBezTo>
                    <a:pt x="411" y="646"/>
                    <a:pt x="413" y="636"/>
                    <a:pt x="416" y="625"/>
                  </a:cubicBezTo>
                  <a:cubicBezTo>
                    <a:pt x="420" y="611"/>
                    <a:pt x="426" y="597"/>
                    <a:pt x="430" y="583"/>
                  </a:cubicBezTo>
                  <a:cubicBezTo>
                    <a:pt x="431" y="579"/>
                    <a:pt x="432" y="575"/>
                    <a:pt x="433" y="572"/>
                  </a:cubicBezTo>
                  <a:cubicBezTo>
                    <a:pt x="434" y="570"/>
                    <a:pt x="434" y="568"/>
                    <a:pt x="433" y="566"/>
                  </a:cubicBezTo>
                  <a:cubicBezTo>
                    <a:pt x="429" y="557"/>
                    <a:pt x="428" y="547"/>
                    <a:pt x="426" y="537"/>
                  </a:cubicBezTo>
                  <a:cubicBezTo>
                    <a:pt x="424" y="527"/>
                    <a:pt x="420" y="517"/>
                    <a:pt x="418" y="507"/>
                  </a:cubicBezTo>
                  <a:cubicBezTo>
                    <a:pt x="415" y="496"/>
                    <a:pt x="410" y="485"/>
                    <a:pt x="406" y="475"/>
                  </a:cubicBezTo>
                  <a:cubicBezTo>
                    <a:pt x="398" y="454"/>
                    <a:pt x="391" y="432"/>
                    <a:pt x="383" y="411"/>
                  </a:cubicBezTo>
                  <a:cubicBezTo>
                    <a:pt x="380" y="403"/>
                    <a:pt x="376" y="396"/>
                    <a:pt x="373" y="389"/>
                  </a:cubicBezTo>
                  <a:cubicBezTo>
                    <a:pt x="371" y="386"/>
                    <a:pt x="369" y="383"/>
                    <a:pt x="368" y="379"/>
                  </a:cubicBezTo>
                  <a:cubicBezTo>
                    <a:pt x="364" y="366"/>
                    <a:pt x="361" y="353"/>
                    <a:pt x="357" y="340"/>
                  </a:cubicBezTo>
                  <a:cubicBezTo>
                    <a:pt x="355" y="336"/>
                    <a:pt x="352" y="332"/>
                    <a:pt x="349" y="328"/>
                  </a:cubicBezTo>
                  <a:cubicBezTo>
                    <a:pt x="348" y="326"/>
                    <a:pt x="346" y="324"/>
                    <a:pt x="344" y="322"/>
                  </a:cubicBezTo>
                  <a:cubicBezTo>
                    <a:pt x="344" y="306"/>
                    <a:pt x="340" y="291"/>
                    <a:pt x="333" y="276"/>
                  </a:cubicBezTo>
                  <a:cubicBezTo>
                    <a:pt x="330" y="271"/>
                    <a:pt x="327" y="266"/>
                    <a:pt x="324" y="262"/>
                  </a:cubicBezTo>
                  <a:cubicBezTo>
                    <a:pt x="317" y="253"/>
                    <a:pt x="307" y="251"/>
                    <a:pt x="296" y="248"/>
                  </a:cubicBezTo>
                  <a:cubicBezTo>
                    <a:pt x="284" y="245"/>
                    <a:pt x="271" y="243"/>
                    <a:pt x="258" y="240"/>
                  </a:cubicBezTo>
                  <a:cubicBezTo>
                    <a:pt x="252" y="239"/>
                    <a:pt x="247" y="240"/>
                    <a:pt x="242" y="236"/>
                  </a:cubicBezTo>
                  <a:cubicBezTo>
                    <a:pt x="239" y="233"/>
                    <a:pt x="235" y="230"/>
                    <a:pt x="232" y="227"/>
                  </a:cubicBezTo>
                  <a:cubicBezTo>
                    <a:pt x="230" y="225"/>
                    <a:pt x="227" y="222"/>
                    <a:pt x="226" y="220"/>
                  </a:cubicBezTo>
                  <a:cubicBezTo>
                    <a:pt x="226" y="219"/>
                    <a:pt x="226" y="219"/>
                    <a:pt x="226" y="218"/>
                  </a:cubicBezTo>
                  <a:cubicBezTo>
                    <a:pt x="226" y="215"/>
                    <a:pt x="229" y="212"/>
                    <a:pt x="232" y="210"/>
                  </a:cubicBezTo>
                  <a:cubicBezTo>
                    <a:pt x="234" y="209"/>
                    <a:pt x="235" y="207"/>
                    <a:pt x="237" y="205"/>
                  </a:cubicBezTo>
                  <a:cubicBezTo>
                    <a:pt x="242" y="196"/>
                    <a:pt x="245" y="186"/>
                    <a:pt x="245" y="176"/>
                  </a:cubicBezTo>
                  <a:cubicBezTo>
                    <a:pt x="245" y="161"/>
                    <a:pt x="243" y="147"/>
                    <a:pt x="238" y="133"/>
                  </a:cubicBezTo>
                  <a:cubicBezTo>
                    <a:pt x="236" y="126"/>
                    <a:pt x="233" y="117"/>
                    <a:pt x="234" y="110"/>
                  </a:cubicBezTo>
                  <a:cubicBezTo>
                    <a:pt x="235" y="99"/>
                    <a:pt x="232" y="90"/>
                    <a:pt x="230" y="80"/>
                  </a:cubicBezTo>
                  <a:cubicBezTo>
                    <a:pt x="228" y="63"/>
                    <a:pt x="222" y="49"/>
                    <a:pt x="213" y="35"/>
                  </a:cubicBezTo>
                  <a:cubicBezTo>
                    <a:pt x="206" y="24"/>
                    <a:pt x="197" y="14"/>
                    <a:pt x="186" y="6"/>
                  </a:cubicBezTo>
                  <a:cubicBezTo>
                    <a:pt x="180" y="2"/>
                    <a:pt x="174" y="0"/>
                    <a:pt x="167" y="1"/>
                  </a:cubicBezTo>
                  <a:cubicBezTo>
                    <a:pt x="162" y="2"/>
                    <a:pt x="156" y="1"/>
                    <a:pt x="150" y="2"/>
                  </a:cubicBezTo>
                  <a:cubicBezTo>
                    <a:pt x="146" y="2"/>
                    <a:pt x="142" y="3"/>
                    <a:pt x="138" y="6"/>
                  </a:cubicBezTo>
                  <a:cubicBezTo>
                    <a:pt x="124" y="1"/>
                    <a:pt x="113" y="6"/>
                    <a:pt x="102" y="15"/>
                  </a:cubicBezTo>
                  <a:cubicBezTo>
                    <a:pt x="86" y="26"/>
                    <a:pt x="76" y="42"/>
                    <a:pt x="68" y="59"/>
                  </a:cubicBezTo>
                  <a:cubicBezTo>
                    <a:pt x="66" y="64"/>
                    <a:pt x="64" y="69"/>
                    <a:pt x="61" y="72"/>
                  </a:cubicBezTo>
                  <a:cubicBezTo>
                    <a:pt x="54" y="81"/>
                    <a:pt x="53" y="92"/>
                    <a:pt x="53" y="103"/>
                  </a:cubicBezTo>
                  <a:cubicBezTo>
                    <a:pt x="52" y="111"/>
                    <a:pt x="52" y="120"/>
                    <a:pt x="47" y="128"/>
                  </a:cubicBezTo>
                  <a:cubicBezTo>
                    <a:pt x="48" y="129"/>
                    <a:pt x="49" y="131"/>
                    <a:pt x="50" y="133"/>
                  </a:cubicBezTo>
                  <a:cubicBezTo>
                    <a:pt x="48" y="136"/>
                    <a:pt x="46" y="139"/>
                    <a:pt x="44" y="142"/>
                  </a:cubicBezTo>
                  <a:cubicBezTo>
                    <a:pt x="41" y="146"/>
                    <a:pt x="40" y="149"/>
                    <a:pt x="43" y="153"/>
                  </a:cubicBezTo>
                  <a:cubicBezTo>
                    <a:pt x="45" y="158"/>
                    <a:pt x="45" y="163"/>
                    <a:pt x="44" y="169"/>
                  </a:cubicBezTo>
                  <a:cubicBezTo>
                    <a:pt x="43" y="172"/>
                    <a:pt x="44" y="176"/>
                    <a:pt x="46" y="179"/>
                  </a:cubicBezTo>
                  <a:cubicBezTo>
                    <a:pt x="50" y="187"/>
                    <a:pt x="54" y="195"/>
                    <a:pt x="59" y="202"/>
                  </a:cubicBezTo>
                  <a:cubicBezTo>
                    <a:pt x="63" y="210"/>
                    <a:pt x="69" y="216"/>
                    <a:pt x="76" y="221"/>
                  </a:cubicBezTo>
                  <a:cubicBezTo>
                    <a:pt x="78" y="222"/>
                    <a:pt x="80" y="224"/>
                    <a:pt x="82" y="225"/>
                  </a:cubicBezTo>
                  <a:cubicBezTo>
                    <a:pt x="81" y="224"/>
                    <a:pt x="85" y="223"/>
                    <a:pt x="85" y="222"/>
                  </a:cubicBezTo>
                  <a:cubicBezTo>
                    <a:pt x="87" y="222"/>
                    <a:pt x="90" y="222"/>
                    <a:pt x="91" y="224"/>
                  </a:cubicBezTo>
                  <a:cubicBezTo>
                    <a:pt x="92" y="224"/>
                    <a:pt x="92" y="226"/>
                    <a:pt x="91" y="227"/>
                  </a:cubicBezTo>
                  <a:cubicBezTo>
                    <a:pt x="91" y="228"/>
                    <a:pt x="90" y="229"/>
                    <a:pt x="89" y="230"/>
                  </a:cubicBezTo>
                  <a:cubicBezTo>
                    <a:pt x="84" y="235"/>
                    <a:pt x="80" y="240"/>
                    <a:pt x="76" y="244"/>
                  </a:cubicBezTo>
                  <a:cubicBezTo>
                    <a:pt x="72" y="248"/>
                    <a:pt x="68" y="253"/>
                    <a:pt x="63" y="257"/>
                  </a:cubicBezTo>
                  <a:cubicBezTo>
                    <a:pt x="63" y="257"/>
                    <a:pt x="63" y="257"/>
                    <a:pt x="62" y="257"/>
                  </a:cubicBezTo>
                  <a:cubicBezTo>
                    <a:pt x="54" y="262"/>
                    <a:pt x="43" y="263"/>
                    <a:pt x="34" y="268"/>
                  </a:cubicBezTo>
                  <a:cubicBezTo>
                    <a:pt x="26" y="273"/>
                    <a:pt x="20" y="280"/>
                    <a:pt x="18" y="290"/>
                  </a:cubicBezTo>
                  <a:cubicBezTo>
                    <a:pt x="13" y="308"/>
                    <a:pt x="12" y="326"/>
                    <a:pt x="16" y="344"/>
                  </a:cubicBezTo>
                  <a:cubicBezTo>
                    <a:pt x="17" y="347"/>
                    <a:pt x="18" y="350"/>
                    <a:pt x="19" y="354"/>
                  </a:cubicBezTo>
                  <a:cubicBezTo>
                    <a:pt x="21" y="358"/>
                    <a:pt x="21" y="361"/>
                    <a:pt x="18" y="364"/>
                  </a:cubicBezTo>
                  <a:cubicBezTo>
                    <a:pt x="14" y="369"/>
                    <a:pt x="12" y="375"/>
                    <a:pt x="12" y="382"/>
                  </a:cubicBezTo>
                  <a:cubicBezTo>
                    <a:pt x="13" y="398"/>
                    <a:pt x="14" y="415"/>
                    <a:pt x="14" y="431"/>
                  </a:cubicBezTo>
                  <a:cubicBezTo>
                    <a:pt x="14" y="435"/>
                    <a:pt x="12" y="439"/>
                    <a:pt x="13" y="442"/>
                  </a:cubicBezTo>
                  <a:cubicBezTo>
                    <a:pt x="14" y="451"/>
                    <a:pt x="13" y="460"/>
                    <a:pt x="11" y="468"/>
                  </a:cubicBezTo>
                  <a:cubicBezTo>
                    <a:pt x="10" y="471"/>
                    <a:pt x="12" y="475"/>
                    <a:pt x="12" y="478"/>
                  </a:cubicBezTo>
                  <a:cubicBezTo>
                    <a:pt x="5" y="488"/>
                    <a:pt x="5" y="488"/>
                    <a:pt x="8" y="498"/>
                  </a:cubicBezTo>
                  <a:close/>
                  <a:moveTo>
                    <a:pt x="295" y="566"/>
                  </a:moveTo>
                  <a:cubicBezTo>
                    <a:pt x="295" y="566"/>
                    <a:pt x="295" y="565"/>
                    <a:pt x="295" y="564"/>
                  </a:cubicBezTo>
                  <a:cubicBezTo>
                    <a:pt x="296" y="555"/>
                    <a:pt x="293" y="546"/>
                    <a:pt x="298" y="538"/>
                  </a:cubicBezTo>
                  <a:cubicBezTo>
                    <a:pt x="298" y="537"/>
                    <a:pt x="298" y="537"/>
                    <a:pt x="298" y="536"/>
                  </a:cubicBezTo>
                  <a:cubicBezTo>
                    <a:pt x="298" y="528"/>
                    <a:pt x="304" y="522"/>
                    <a:pt x="308" y="514"/>
                  </a:cubicBezTo>
                  <a:cubicBezTo>
                    <a:pt x="312" y="523"/>
                    <a:pt x="319" y="528"/>
                    <a:pt x="325" y="534"/>
                  </a:cubicBezTo>
                  <a:cubicBezTo>
                    <a:pt x="328" y="537"/>
                    <a:pt x="328" y="539"/>
                    <a:pt x="326" y="543"/>
                  </a:cubicBezTo>
                  <a:cubicBezTo>
                    <a:pt x="324" y="545"/>
                    <a:pt x="322" y="548"/>
                    <a:pt x="322" y="550"/>
                  </a:cubicBezTo>
                  <a:cubicBezTo>
                    <a:pt x="322" y="561"/>
                    <a:pt x="321" y="572"/>
                    <a:pt x="322" y="583"/>
                  </a:cubicBezTo>
                  <a:cubicBezTo>
                    <a:pt x="323" y="585"/>
                    <a:pt x="324" y="589"/>
                    <a:pt x="324" y="592"/>
                  </a:cubicBezTo>
                  <a:cubicBezTo>
                    <a:pt x="324" y="607"/>
                    <a:pt x="324" y="623"/>
                    <a:pt x="324" y="638"/>
                  </a:cubicBezTo>
                  <a:cubicBezTo>
                    <a:pt x="325" y="646"/>
                    <a:pt x="321" y="652"/>
                    <a:pt x="319" y="659"/>
                  </a:cubicBezTo>
                  <a:cubicBezTo>
                    <a:pt x="319" y="652"/>
                    <a:pt x="317" y="646"/>
                    <a:pt x="313" y="640"/>
                  </a:cubicBezTo>
                  <a:cubicBezTo>
                    <a:pt x="312" y="639"/>
                    <a:pt x="311" y="638"/>
                    <a:pt x="311" y="637"/>
                  </a:cubicBezTo>
                  <a:cubicBezTo>
                    <a:pt x="313" y="630"/>
                    <a:pt x="309" y="625"/>
                    <a:pt x="307" y="620"/>
                  </a:cubicBezTo>
                  <a:cubicBezTo>
                    <a:pt x="305" y="612"/>
                    <a:pt x="301" y="604"/>
                    <a:pt x="301" y="596"/>
                  </a:cubicBezTo>
                  <a:cubicBezTo>
                    <a:pt x="301" y="595"/>
                    <a:pt x="301" y="594"/>
                    <a:pt x="300" y="593"/>
                  </a:cubicBezTo>
                  <a:cubicBezTo>
                    <a:pt x="297" y="584"/>
                    <a:pt x="294" y="576"/>
                    <a:pt x="295" y="56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10" name="Group 109">
            <a:extLst>
              <a:ext uri="{FF2B5EF4-FFF2-40B4-BE49-F238E27FC236}">
                <a16:creationId xmlns:a16="http://schemas.microsoft.com/office/drawing/2014/main" id="{0BD2A621-4CE5-46D5-9AAD-BF838AD9D9F5}"/>
              </a:ext>
            </a:extLst>
          </p:cNvPr>
          <p:cNvGrpSpPr/>
          <p:nvPr/>
        </p:nvGrpSpPr>
        <p:grpSpPr>
          <a:xfrm>
            <a:off x="1411566" y="1575593"/>
            <a:ext cx="287338" cy="287338"/>
            <a:chOff x="4319588" y="2492375"/>
            <a:chExt cx="287338" cy="287338"/>
          </a:xfrm>
          <a:solidFill>
            <a:schemeClr val="bg1"/>
          </a:solidFill>
        </p:grpSpPr>
        <p:sp>
          <p:nvSpPr>
            <p:cNvPr id="111" name="Freeform 372">
              <a:extLst>
                <a:ext uri="{FF2B5EF4-FFF2-40B4-BE49-F238E27FC236}">
                  <a16:creationId xmlns:a16="http://schemas.microsoft.com/office/drawing/2014/main" id="{C61DF243-2E7B-46B5-ACDB-09736951719A}"/>
                </a:ext>
              </a:extLst>
            </p:cNvPr>
            <p:cNvSpPr>
              <a:spLocks/>
            </p:cNvSpPr>
            <p:nvPr/>
          </p:nvSpPr>
          <p:spPr bwMode="auto">
            <a:xfrm>
              <a:off x="4319588" y="2587625"/>
              <a:ext cx="287338" cy="192088"/>
            </a:xfrm>
            <a:custGeom>
              <a:avLst/>
              <a:gdLst>
                <a:gd name="T0" fmla="*/ 843 w 904"/>
                <a:gd name="T1" fmla="*/ 572 h 602"/>
                <a:gd name="T2" fmla="*/ 843 w 904"/>
                <a:gd name="T3" fmla="*/ 12 h 602"/>
                <a:gd name="T4" fmla="*/ 841 w 904"/>
                <a:gd name="T5" fmla="*/ 7 h 602"/>
                <a:gd name="T6" fmla="*/ 836 w 904"/>
                <a:gd name="T7" fmla="*/ 3 h 602"/>
                <a:gd name="T8" fmla="*/ 831 w 904"/>
                <a:gd name="T9" fmla="*/ 1 h 602"/>
                <a:gd name="T10" fmla="*/ 708 w 904"/>
                <a:gd name="T11" fmla="*/ 0 h 602"/>
                <a:gd name="T12" fmla="*/ 702 w 904"/>
                <a:gd name="T13" fmla="*/ 2 h 602"/>
                <a:gd name="T14" fmla="*/ 697 w 904"/>
                <a:gd name="T15" fmla="*/ 5 h 602"/>
                <a:gd name="T16" fmla="*/ 694 w 904"/>
                <a:gd name="T17" fmla="*/ 9 h 602"/>
                <a:gd name="T18" fmla="*/ 693 w 904"/>
                <a:gd name="T19" fmla="*/ 16 h 602"/>
                <a:gd name="T20" fmla="*/ 632 w 904"/>
                <a:gd name="T21" fmla="*/ 572 h 602"/>
                <a:gd name="T22" fmla="*/ 632 w 904"/>
                <a:gd name="T23" fmla="*/ 283 h 602"/>
                <a:gd name="T24" fmla="*/ 630 w 904"/>
                <a:gd name="T25" fmla="*/ 277 h 602"/>
                <a:gd name="T26" fmla="*/ 626 w 904"/>
                <a:gd name="T27" fmla="*/ 274 h 602"/>
                <a:gd name="T28" fmla="*/ 621 w 904"/>
                <a:gd name="T29" fmla="*/ 271 h 602"/>
                <a:gd name="T30" fmla="*/ 497 w 904"/>
                <a:gd name="T31" fmla="*/ 271 h 602"/>
                <a:gd name="T32" fmla="*/ 491 w 904"/>
                <a:gd name="T33" fmla="*/ 272 h 602"/>
                <a:gd name="T34" fmla="*/ 487 w 904"/>
                <a:gd name="T35" fmla="*/ 275 h 602"/>
                <a:gd name="T36" fmla="*/ 483 w 904"/>
                <a:gd name="T37" fmla="*/ 281 h 602"/>
                <a:gd name="T38" fmla="*/ 482 w 904"/>
                <a:gd name="T39" fmla="*/ 286 h 602"/>
                <a:gd name="T40" fmla="*/ 421 w 904"/>
                <a:gd name="T41" fmla="*/ 572 h 602"/>
                <a:gd name="T42" fmla="*/ 421 w 904"/>
                <a:gd name="T43" fmla="*/ 193 h 602"/>
                <a:gd name="T44" fmla="*/ 419 w 904"/>
                <a:gd name="T45" fmla="*/ 187 h 602"/>
                <a:gd name="T46" fmla="*/ 415 w 904"/>
                <a:gd name="T47" fmla="*/ 183 h 602"/>
                <a:gd name="T48" fmla="*/ 409 w 904"/>
                <a:gd name="T49" fmla="*/ 181 h 602"/>
                <a:gd name="T50" fmla="*/ 286 w 904"/>
                <a:gd name="T51" fmla="*/ 181 h 602"/>
                <a:gd name="T52" fmla="*/ 281 w 904"/>
                <a:gd name="T53" fmla="*/ 182 h 602"/>
                <a:gd name="T54" fmla="*/ 275 w 904"/>
                <a:gd name="T55" fmla="*/ 185 h 602"/>
                <a:gd name="T56" fmla="*/ 272 w 904"/>
                <a:gd name="T57" fmla="*/ 190 h 602"/>
                <a:gd name="T58" fmla="*/ 271 w 904"/>
                <a:gd name="T59" fmla="*/ 196 h 602"/>
                <a:gd name="T60" fmla="*/ 211 w 904"/>
                <a:gd name="T61" fmla="*/ 572 h 602"/>
                <a:gd name="T62" fmla="*/ 211 w 904"/>
                <a:gd name="T63" fmla="*/ 404 h 602"/>
                <a:gd name="T64" fmla="*/ 209 w 904"/>
                <a:gd name="T65" fmla="*/ 399 h 602"/>
                <a:gd name="T66" fmla="*/ 205 w 904"/>
                <a:gd name="T67" fmla="*/ 394 h 602"/>
                <a:gd name="T68" fmla="*/ 199 w 904"/>
                <a:gd name="T69" fmla="*/ 392 h 602"/>
                <a:gd name="T70" fmla="*/ 76 w 904"/>
                <a:gd name="T71" fmla="*/ 391 h 602"/>
                <a:gd name="T72" fmla="*/ 69 w 904"/>
                <a:gd name="T73" fmla="*/ 392 h 602"/>
                <a:gd name="T74" fmla="*/ 65 w 904"/>
                <a:gd name="T75" fmla="*/ 396 h 602"/>
                <a:gd name="T76" fmla="*/ 62 w 904"/>
                <a:gd name="T77" fmla="*/ 401 h 602"/>
                <a:gd name="T78" fmla="*/ 61 w 904"/>
                <a:gd name="T79" fmla="*/ 406 h 602"/>
                <a:gd name="T80" fmla="*/ 15 w 904"/>
                <a:gd name="T81" fmla="*/ 572 h 602"/>
                <a:gd name="T82" fmla="*/ 9 w 904"/>
                <a:gd name="T83" fmla="*/ 573 h 602"/>
                <a:gd name="T84" fmla="*/ 5 w 904"/>
                <a:gd name="T85" fmla="*/ 577 h 602"/>
                <a:gd name="T86" fmla="*/ 2 w 904"/>
                <a:gd name="T87" fmla="*/ 581 h 602"/>
                <a:gd name="T88" fmla="*/ 0 w 904"/>
                <a:gd name="T89" fmla="*/ 587 h 602"/>
                <a:gd name="T90" fmla="*/ 2 w 904"/>
                <a:gd name="T91" fmla="*/ 593 h 602"/>
                <a:gd name="T92" fmla="*/ 5 w 904"/>
                <a:gd name="T93" fmla="*/ 598 h 602"/>
                <a:gd name="T94" fmla="*/ 9 w 904"/>
                <a:gd name="T95" fmla="*/ 601 h 602"/>
                <a:gd name="T96" fmla="*/ 15 w 904"/>
                <a:gd name="T97" fmla="*/ 602 h 602"/>
                <a:gd name="T98" fmla="*/ 196 w 904"/>
                <a:gd name="T99" fmla="*/ 602 h 602"/>
                <a:gd name="T100" fmla="*/ 406 w 904"/>
                <a:gd name="T101" fmla="*/ 602 h 602"/>
                <a:gd name="T102" fmla="*/ 617 w 904"/>
                <a:gd name="T103" fmla="*/ 602 h 602"/>
                <a:gd name="T104" fmla="*/ 828 w 904"/>
                <a:gd name="T105" fmla="*/ 602 h 602"/>
                <a:gd name="T106" fmla="*/ 891 w 904"/>
                <a:gd name="T107" fmla="*/ 602 h 602"/>
                <a:gd name="T108" fmla="*/ 896 w 904"/>
                <a:gd name="T109" fmla="*/ 600 h 602"/>
                <a:gd name="T110" fmla="*/ 901 w 904"/>
                <a:gd name="T111" fmla="*/ 596 h 602"/>
                <a:gd name="T112" fmla="*/ 903 w 904"/>
                <a:gd name="T113" fmla="*/ 591 h 602"/>
                <a:gd name="T114" fmla="*/ 903 w 904"/>
                <a:gd name="T115" fmla="*/ 584 h 602"/>
                <a:gd name="T116" fmla="*/ 901 w 904"/>
                <a:gd name="T117" fmla="*/ 579 h 602"/>
                <a:gd name="T118" fmla="*/ 896 w 904"/>
                <a:gd name="T119" fmla="*/ 575 h 602"/>
                <a:gd name="T120" fmla="*/ 891 w 904"/>
                <a:gd name="T121" fmla="*/ 572 h 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904" h="602">
                  <a:moveTo>
                    <a:pt x="889" y="572"/>
                  </a:moveTo>
                  <a:lnTo>
                    <a:pt x="843" y="572"/>
                  </a:lnTo>
                  <a:lnTo>
                    <a:pt x="843" y="16"/>
                  </a:lnTo>
                  <a:lnTo>
                    <a:pt x="843" y="12"/>
                  </a:lnTo>
                  <a:lnTo>
                    <a:pt x="842" y="9"/>
                  </a:lnTo>
                  <a:lnTo>
                    <a:pt x="841" y="7"/>
                  </a:lnTo>
                  <a:lnTo>
                    <a:pt x="838" y="5"/>
                  </a:lnTo>
                  <a:lnTo>
                    <a:pt x="836" y="3"/>
                  </a:lnTo>
                  <a:lnTo>
                    <a:pt x="834" y="2"/>
                  </a:lnTo>
                  <a:lnTo>
                    <a:pt x="831" y="1"/>
                  </a:lnTo>
                  <a:lnTo>
                    <a:pt x="828" y="1"/>
                  </a:lnTo>
                  <a:lnTo>
                    <a:pt x="708" y="0"/>
                  </a:lnTo>
                  <a:lnTo>
                    <a:pt x="704" y="1"/>
                  </a:lnTo>
                  <a:lnTo>
                    <a:pt x="702" y="2"/>
                  </a:lnTo>
                  <a:lnTo>
                    <a:pt x="699" y="3"/>
                  </a:lnTo>
                  <a:lnTo>
                    <a:pt x="697" y="5"/>
                  </a:lnTo>
                  <a:lnTo>
                    <a:pt x="695" y="7"/>
                  </a:lnTo>
                  <a:lnTo>
                    <a:pt x="694" y="9"/>
                  </a:lnTo>
                  <a:lnTo>
                    <a:pt x="693" y="12"/>
                  </a:lnTo>
                  <a:lnTo>
                    <a:pt x="693" y="16"/>
                  </a:lnTo>
                  <a:lnTo>
                    <a:pt x="693" y="572"/>
                  </a:lnTo>
                  <a:lnTo>
                    <a:pt x="632" y="572"/>
                  </a:lnTo>
                  <a:lnTo>
                    <a:pt x="632" y="286"/>
                  </a:lnTo>
                  <a:lnTo>
                    <a:pt x="632" y="283"/>
                  </a:lnTo>
                  <a:lnTo>
                    <a:pt x="631" y="281"/>
                  </a:lnTo>
                  <a:lnTo>
                    <a:pt x="630" y="277"/>
                  </a:lnTo>
                  <a:lnTo>
                    <a:pt x="628" y="275"/>
                  </a:lnTo>
                  <a:lnTo>
                    <a:pt x="626" y="274"/>
                  </a:lnTo>
                  <a:lnTo>
                    <a:pt x="623" y="272"/>
                  </a:lnTo>
                  <a:lnTo>
                    <a:pt x="621" y="271"/>
                  </a:lnTo>
                  <a:lnTo>
                    <a:pt x="617" y="271"/>
                  </a:lnTo>
                  <a:lnTo>
                    <a:pt x="497" y="271"/>
                  </a:lnTo>
                  <a:lnTo>
                    <a:pt x="494" y="271"/>
                  </a:lnTo>
                  <a:lnTo>
                    <a:pt x="491" y="272"/>
                  </a:lnTo>
                  <a:lnTo>
                    <a:pt x="489" y="274"/>
                  </a:lnTo>
                  <a:lnTo>
                    <a:pt x="487" y="275"/>
                  </a:lnTo>
                  <a:lnTo>
                    <a:pt x="484" y="277"/>
                  </a:lnTo>
                  <a:lnTo>
                    <a:pt x="483" y="281"/>
                  </a:lnTo>
                  <a:lnTo>
                    <a:pt x="482" y="283"/>
                  </a:lnTo>
                  <a:lnTo>
                    <a:pt x="482" y="286"/>
                  </a:lnTo>
                  <a:lnTo>
                    <a:pt x="482" y="572"/>
                  </a:lnTo>
                  <a:lnTo>
                    <a:pt x="421" y="572"/>
                  </a:lnTo>
                  <a:lnTo>
                    <a:pt x="421" y="196"/>
                  </a:lnTo>
                  <a:lnTo>
                    <a:pt x="421" y="193"/>
                  </a:lnTo>
                  <a:lnTo>
                    <a:pt x="420" y="190"/>
                  </a:lnTo>
                  <a:lnTo>
                    <a:pt x="419" y="187"/>
                  </a:lnTo>
                  <a:lnTo>
                    <a:pt x="417" y="185"/>
                  </a:lnTo>
                  <a:lnTo>
                    <a:pt x="415" y="183"/>
                  </a:lnTo>
                  <a:lnTo>
                    <a:pt x="413" y="182"/>
                  </a:lnTo>
                  <a:lnTo>
                    <a:pt x="409" y="181"/>
                  </a:lnTo>
                  <a:lnTo>
                    <a:pt x="406" y="181"/>
                  </a:lnTo>
                  <a:lnTo>
                    <a:pt x="286" y="181"/>
                  </a:lnTo>
                  <a:lnTo>
                    <a:pt x="283" y="181"/>
                  </a:lnTo>
                  <a:lnTo>
                    <a:pt x="281" y="182"/>
                  </a:lnTo>
                  <a:lnTo>
                    <a:pt x="277" y="183"/>
                  </a:lnTo>
                  <a:lnTo>
                    <a:pt x="275" y="185"/>
                  </a:lnTo>
                  <a:lnTo>
                    <a:pt x="273" y="187"/>
                  </a:lnTo>
                  <a:lnTo>
                    <a:pt x="272" y="190"/>
                  </a:lnTo>
                  <a:lnTo>
                    <a:pt x="271" y="193"/>
                  </a:lnTo>
                  <a:lnTo>
                    <a:pt x="271" y="196"/>
                  </a:lnTo>
                  <a:lnTo>
                    <a:pt x="271" y="572"/>
                  </a:lnTo>
                  <a:lnTo>
                    <a:pt x="211" y="572"/>
                  </a:lnTo>
                  <a:lnTo>
                    <a:pt x="211" y="406"/>
                  </a:lnTo>
                  <a:lnTo>
                    <a:pt x="211" y="404"/>
                  </a:lnTo>
                  <a:lnTo>
                    <a:pt x="210" y="401"/>
                  </a:lnTo>
                  <a:lnTo>
                    <a:pt x="209" y="399"/>
                  </a:lnTo>
                  <a:lnTo>
                    <a:pt x="207" y="396"/>
                  </a:lnTo>
                  <a:lnTo>
                    <a:pt x="205" y="394"/>
                  </a:lnTo>
                  <a:lnTo>
                    <a:pt x="201" y="393"/>
                  </a:lnTo>
                  <a:lnTo>
                    <a:pt x="199" y="392"/>
                  </a:lnTo>
                  <a:lnTo>
                    <a:pt x="196" y="391"/>
                  </a:lnTo>
                  <a:lnTo>
                    <a:pt x="76" y="391"/>
                  </a:lnTo>
                  <a:lnTo>
                    <a:pt x="73" y="392"/>
                  </a:lnTo>
                  <a:lnTo>
                    <a:pt x="69" y="392"/>
                  </a:lnTo>
                  <a:lnTo>
                    <a:pt x="67" y="394"/>
                  </a:lnTo>
                  <a:lnTo>
                    <a:pt x="65" y="396"/>
                  </a:lnTo>
                  <a:lnTo>
                    <a:pt x="63" y="399"/>
                  </a:lnTo>
                  <a:lnTo>
                    <a:pt x="62" y="401"/>
                  </a:lnTo>
                  <a:lnTo>
                    <a:pt x="61" y="404"/>
                  </a:lnTo>
                  <a:lnTo>
                    <a:pt x="61" y="406"/>
                  </a:lnTo>
                  <a:lnTo>
                    <a:pt x="61" y="572"/>
                  </a:lnTo>
                  <a:lnTo>
                    <a:pt x="15" y="572"/>
                  </a:lnTo>
                  <a:lnTo>
                    <a:pt x="13" y="572"/>
                  </a:lnTo>
                  <a:lnTo>
                    <a:pt x="9" y="573"/>
                  </a:lnTo>
                  <a:lnTo>
                    <a:pt x="7" y="575"/>
                  </a:lnTo>
                  <a:lnTo>
                    <a:pt x="5" y="577"/>
                  </a:lnTo>
                  <a:lnTo>
                    <a:pt x="3" y="579"/>
                  </a:lnTo>
                  <a:lnTo>
                    <a:pt x="2" y="581"/>
                  </a:lnTo>
                  <a:lnTo>
                    <a:pt x="1" y="584"/>
                  </a:lnTo>
                  <a:lnTo>
                    <a:pt x="0" y="587"/>
                  </a:lnTo>
                  <a:lnTo>
                    <a:pt x="1" y="591"/>
                  </a:lnTo>
                  <a:lnTo>
                    <a:pt x="2" y="593"/>
                  </a:lnTo>
                  <a:lnTo>
                    <a:pt x="3" y="596"/>
                  </a:lnTo>
                  <a:lnTo>
                    <a:pt x="5" y="598"/>
                  </a:lnTo>
                  <a:lnTo>
                    <a:pt x="7" y="600"/>
                  </a:lnTo>
                  <a:lnTo>
                    <a:pt x="9" y="601"/>
                  </a:lnTo>
                  <a:lnTo>
                    <a:pt x="13" y="602"/>
                  </a:lnTo>
                  <a:lnTo>
                    <a:pt x="15" y="602"/>
                  </a:lnTo>
                  <a:lnTo>
                    <a:pt x="76" y="602"/>
                  </a:lnTo>
                  <a:lnTo>
                    <a:pt x="196" y="602"/>
                  </a:lnTo>
                  <a:lnTo>
                    <a:pt x="286" y="602"/>
                  </a:lnTo>
                  <a:lnTo>
                    <a:pt x="406" y="602"/>
                  </a:lnTo>
                  <a:lnTo>
                    <a:pt x="497" y="602"/>
                  </a:lnTo>
                  <a:lnTo>
                    <a:pt x="617" y="602"/>
                  </a:lnTo>
                  <a:lnTo>
                    <a:pt x="708" y="602"/>
                  </a:lnTo>
                  <a:lnTo>
                    <a:pt x="828" y="602"/>
                  </a:lnTo>
                  <a:lnTo>
                    <a:pt x="889" y="602"/>
                  </a:lnTo>
                  <a:lnTo>
                    <a:pt x="891" y="602"/>
                  </a:lnTo>
                  <a:lnTo>
                    <a:pt x="894" y="601"/>
                  </a:lnTo>
                  <a:lnTo>
                    <a:pt x="896" y="600"/>
                  </a:lnTo>
                  <a:lnTo>
                    <a:pt x="898" y="598"/>
                  </a:lnTo>
                  <a:lnTo>
                    <a:pt x="901" y="596"/>
                  </a:lnTo>
                  <a:lnTo>
                    <a:pt x="902" y="593"/>
                  </a:lnTo>
                  <a:lnTo>
                    <a:pt x="903" y="591"/>
                  </a:lnTo>
                  <a:lnTo>
                    <a:pt x="904" y="587"/>
                  </a:lnTo>
                  <a:lnTo>
                    <a:pt x="903" y="584"/>
                  </a:lnTo>
                  <a:lnTo>
                    <a:pt x="902" y="581"/>
                  </a:lnTo>
                  <a:lnTo>
                    <a:pt x="901" y="579"/>
                  </a:lnTo>
                  <a:lnTo>
                    <a:pt x="898" y="577"/>
                  </a:lnTo>
                  <a:lnTo>
                    <a:pt x="896" y="575"/>
                  </a:lnTo>
                  <a:lnTo>
                    <a:pt x="894" y="573"/>
                  </a:lnTo>
                  <a:lnTo>
                    <a:pt x="891" y="572"/>
                  </a:lnTo>
                  <a:lnTo>
                    <a:pt x="889" y="5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" name="Freeform 373">
              <a:extLst>
                <a:ext uri="{FF2B5EF4-FFF2-40B4-BE49-F238E27FC236}">
                  <a16:creationId xmlns:a16="http://schemas.microsoft.com/office/drawing/2014/main" id="{83AE146E-58BF-4C49-96F7-61AB1E862E2C}"/>
                </a:ext>
              </a:extLst>
            </p:cNvPr>
            <p:cNvSpPr>
              <a:spLocks/>
            </p:cNvSpPr>
            <p:nvPr/>
          </p:nvSpPr>
          <p:spPr bwMode="auto">
            <a:xfrm>
              <a:off x="4338638" y="2492375"/>
              <a:ext cx="252413" cy="157163"/>
            </a:xfrm>
            <a:custGeom>
              <a:avLst/>
              <a:gdLst>
                <a:gd name="T0" fmla="*/ 77 w 797"/>
                <a:gd name="T1" fmla="*/ 494 h 497"/>
                <a:gd name="T2" fmla="*/ 97 w 797"/>
                <a:gd name="T3" fmla="*/ 483 h 497"/>
                <a:gd name="T4" fmla="*/ 112 w 797"/>
                <a:gd name="T5" fmla="*/ 466 h 497"/>
                <a:gd name="T6" fmla="*/ 120 w 797"/>
                <a:gd name="T7" fmla="*/ 443 h 497"/>
                <a:gd name="T8" fmla="*/ 116 w 797"/>
                <a:gd name="T9" fmla="*/ 416 h 497"/>
                <a:gd name="T10" fmla="*/ 267 w 797"/>
                <a:gd name="T11" fmla="*/ 298 h 497"/>
                <a:gd name="T12" fmla="*/ 300 w 797"/>
                <a:gd name="T13" fmla="*/ 299 h 497"/>
                <a:gd name="T14" fmla="*/ 325 w 797"/>
                <a:gd name="T15" fmla="*/ 287 h 497"/>
                <a:gd name="T16" fmla="*/ 451 w 797"/>
                <a:gd name="T17" fmla="*/ 327 h 497"/>
                <a:gd name="T18" fmla="*/ 454 w 797"/>
                <a:gd name="T19" fmla="*/ 349 h 497"/>
                <a:gd name="T20" fmla="*/ 464 w 797"/>
                <a:gd name="T21" fmla="*/ 369 h 497"/>
                <a:gd name="T22" fmla="*/ 482 w 797"/>
                <a:gd name="T23" fmla="*/ 384 h 497"/>
                <a:gd name="T24" fmla="*/ 505 w 797"/>
                <a:gd name="T25" fmla="*/ 391 h 497"/>
                <a:gd name="T26" fmla="*/ 529 w 797"/>
                <a:gd name="T27" fmla="*/ 389 h 497"/>
                <a:gd name="T28" fmla="*/ 550 w 797"/>
                <a:gd name="T29" fmla="*/ 378 h 497"/>
                <a:gd name="T30" fmla="*/ 564 w 797"/>
                <a:gd name="T31" fmla="*/ 360 h 497"/>
                <a:gd name="T32" fmla="*/ 571 w 797"/>
                <a:gd name="T33" fmla="*/ 337 h 497"/>
                <a:gd name="T34" fmla="*/ 565 w 797"/>
                <a:gd name="T35" fmla="*/ 304 h 497"/>
                <a:gd name="T36" fmla="*/ 724 w 797"/>
                <a:gd name="T37" fmla="*/ 119 h 497"/>
                <a:gd name="T38" fmla="*/ 750 w 797"/>
                <a:gd name="T39" fmla="*/ 119 h 497"/>
                <a:gd name="T40" fmla="*/ 771 w 797"/>
                <a:gd name="T41" fmla="*/ 110 h 497"/>
                <a:gd name="T42" fmla="*/ 787 w 797"/>
                <a:gd name="T43" fmla="*/ 94 h 497"/>
                <a:gd name="T44" fmla="*/ 796 w 797"/>
                <a:gd name="T45" fmla="*/ 72 h 497"/>
                <a:gd name="T46" fmla="*/ 796 w 797"/>
                <a:gd name="T47" fmla="*/ 48 h 497"/>
                <a:gd name="T48" fmla="*/ 787 w 797"/>
                <a:gd name="T49" fmla="*/ 27 h 497"/>
                <a:gd name="T50" fmla="*/ 771 w 797"/>
                <a:gd name="T51" fmla="*/ 10 h 497"/>
                <a:gd name="T52" fmla="*/ 750 w 797"/>
                <a:gd name="T53" fmla="*/ 1 h 497"/>
                <a:gd name="T54" fmla="*/ 725 w 797"/>
                <a:gd name="T55" fmla="*/ 1 h 497"/>
                <a:gd name="T56" fmla="*/ 703 w 797"/>
                <a:gd name="T57" fmla="*/ 10 h 497"/>
                <a:gd name="T58" fmla="*/ 687 w 797"/>
                <a:gd name="T59" fmla="*/ 27 h 497"/>
                <a:gd name="T60" fmla="*/ 678 w 797"/>
                <a:gd name="T61" fmla="*/ 48 h 497"/>
                <a:gd name="T62" fmla="*/ 680 w 797"/>
                <a:gd name="T63" fmla="*/ 79 h 497"/>
                <a:gd name="T64" fmla="*/ 531 w 797"/>
                <a:gd name="T65" fmla="*/ 275 h 497"/>
                <a:gd name="T66" fmla="*/ 504 w 797"/>
                <a:gd name="T67" fmla="*/ 272 h 497"/>
                <a:gd name="T68" fmla="*/ 478 w 797"/>
                <a:gd name="T69" fmla="*/ 281 h 497"/>
                <a:gd name="T70" fmla="*/ 345 w 797"/>
                <a:gd name="T71" fmla="*/ 248 h 497"/>
                <a:gd name="T72" fmla="*/ 344 w 797"/>
                <a:gd name="T73" fmla="*/ 229 h 497"/>
                <a:gd name="T74" fmla="*/ 336 w 797"/>
                <a:gd name="T75" fmla="*/ 207 h 497"/>
                <a:gd name="T76" fmla="*/ 319 w 797"/>
                <a:gd name="T77" fmla="*/ 191 h 497"/>
                <a:gd name="T78" fmla="*/ 298 w 797"/>
                <a:gd name="T79" fmla="*/ 181 h 497"/>
                <a:gd name="T80" fmla="*/ 273 w 797"/>
                <a:gd name="T81" fmla="*/ 181 h 497"/>
                <a:gd name="T82" fmla="*/ 252 w 797"/>
                <a:gd name="T83" fmla="*/ 191 h 497"/>
                <a:gd name="T84" fmla="*/ 236 w 797"/>
                <a:gd name="T85" fmla="*/ 207 h 497"/>
                <a:gd name="T86" fmla="*/ 226 w 797"/>
                <a:gd name="T87" fmla="*/ 229 h 497"/>
                <a:gd name="T88" fmla="*/ 227 w 797"/>
                <a:gd name="T89" fmla="*/ 254 h 497"/>
                <a:gd name="T90" fmla="*/ 86 w 797"/>
                <a:gd name="T91" fmla="*/ 382 h 497"/>
                <a:gd name="T92" fmla="*/ 53 w 797"/>
                <a:gd name="T93" fmla="*/ 377 h 497"/>
                <a:gd name="T94" fmla="*/ 31 w 797"/>
                <a:gd name="T95" fmla="*/ 383 h 497"/>
                <a:gd name="T96" fmla="*/ 13 w 797"/>
                <a:gd name="T97" fmla="*/ 398 h 497"/>
                <a:gd name="T98" fmla="*/ 2 w 797"/>
                <a:gd name="T99" fmla="*/ 419 h 497"/>
                <a:gd name="T100" fmla="*/ 0 w 797"/>
                <a:gd name="T101" fmla="*/ 443 h 497"/>
                <a:gd name="T102" fmla="*/ 6 w 797"/>
                <a:gd name="T103" fmla="*/ 466 h 497"/>
                <a:gd name="T104" fmla="*/ 21 w 797"/>
                <a:gd name="T105" fmla="*/ 483 h 497"/>
                <a:gd name="T106" fmla="*/ 42 w 797"/>
                <a:gd name="T107" fmla="*/ 494 h 4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797" h="497">
                  <a:moveTo>
                    <a:pt x="60" y="497"/>
                  </a:moveTo>
                  <a:lnTo>
                    <a:pt x="65" y="497"/>
                  </a:lnTo>
                  <a:lnTo>
                    <a:pt x="72" y="496"/>
                  </a:lnTo>
                  <a:lnTo>
                    <a:pt x="77" y="494"/>
                  </a:lnTo>
                  <a:lnTo>
                    <a:pt x="83" y="493"/>
                  </a:lnTo>
                  <a:lnTo>
                    <a:pt x="89" y="489"/>
                  </a:lnTo>
                  <a:lnTo>
                    <a:pt x="93" y="486"/>
                  </a:lnTo>
                  <a:lnTo>
                    <a:pt x="97" y="483"/>
                  </a:lnTo>
                  <a:lnTo>
                    <a:pt x="102" y="480"/>
                  </a:lnTo>
                  <a:lnTo>
                    <a:pt x="106" y="475"/>
                  </a:lnTo>
                  <a:lnTo>
                    <a:pt x="109" y="470"/>
                  </a:lnTo>
                  <a:lnTo>
                    <a:pt x="112" y="466"/>
                  </a:lnTo>
                  <a:lnTo>
                    <a:pt x="115" y="460"/>
                  </a:lnTo>
                  <a:lnTo>
                    <a:pt x="117" y="455"/>
                  </a:lnTo>
                  <a:lnTo>
                    <a:pt x="119" y="449"/>
                  </a:lnTo>
                  <a:lnTo>
                    <a:pt x="120" y="443"/>
                  </a:lnTo>
                  <a:lnTo>
                    <a:pt x="120" y="437"/>
                  </a:lnTo>
                  <a:lnTo>
                    <a:pt x="119" y="429"/>
                  </a:lnTo>
                  <a:lnTo>
                    <a:pt x="118" y="423"/>
                  </a:lnTo>
                  <a:lnTo>
                    <a:pt x="116" y="416"/>
                  </a:lnTo>
                  <a:lnTo>
                    <a:pt x="114" y="410"/>
                  </a:lnTo>
                  <a:lnTo>
                    <a:pt x="251" y="290"/>
                  </a:lnTo>
                  <a:lnTo>
                    <a:pt x="259" y="295"/>
                  </a:lnTo>
                  <a:lnTo>
                    <a:pt x="267" y="298"/>
                  </a:lnTo>
                  <a:lnTo>
                    <a:pt x="277" y="301"/>
                  </a:lnTo>
                  <a:lnTo>
                    <a:pt x="285" y="302"/>
                  </a:lnTo>
                  <a:lnTo>
                    <a:pt x="293" y="301"/>
                  </a:lnTo>
                  <a:lnTo>
                    <a:pt x="300" y="299"/>
                  </a:lnTo>
                  <a:lnTo>
                    <a:pt x="307" y="297"/>
                  </a:lnTo>
                  <a:lnTo>
                    <a:pt x="313" y="294"/>
                  </a:lnTo>
                  <a:lnTo>
                    <a:pt x="318" y="291"/>
                  </a:lnTo>
                  <a:lnTo>
                    <a:pt x="325" y="287"/>
                  </a:lnTo>
                  <a:lnTo>
                    <a:pt x="329" y="282"/>
                  </a:lnTo>
                  <a:lnTo>
                    <a:pt x="333" y="277"/>
                  </a:lnTo>
                  <a:lnTo>
                    <a:pt x="451" y="324"/>
                  </a:lnTo>
                  <a:lnTo>
                    <a:pt x="451" y="327"/>
                  </a:lnTo>
                  <a:lnTo>
                    <a:pt x="451" y="332"/>
                  </a:lnTo>
                  <a:lnTo>
                    <a:pt x="451" y="337"/>
                  </a:lnTo>
                  <a:lnTo>
                    <a:pt x="452" y="343"/>
                  </a:lnTo>
                  <a:lnTo>
                    <a:pt x="454" y="349"/>
                  </a:lnTo>
                  <a:lnTo>
                    <a:pt x="456" y="354"/>
                  </a:lnTo>
                  <a:lnTo>
                    <a:pt x="458" y="360"/>
                  </a:lnTo>
                  <a:lnTo>
                    <a:pt x="461" y="365"/>
                  </a:lnTo>
                  <a:lnTo>
                    <a:pt x="464" y="369"/>
                  </a:lnTo>
                  <a:lnTo>
                    <a:pt x="469" y="374"/>
                  </a:lnTo>
                  <a:lnTo>
                    <a:pt x="473" y="378"/>
                  </a:lnTo>
                  <a:lnTo>
                    <a:pt x="477" y="381"/>
                  </a:lnTo>
                  <a:lnTo>
                    <a:pt x="482" y="384"/>
                  </a:lnTo>
                  <a:lnTo>
                    <a:pt x="488" y="386"/>
                  </a:lnTo>
                  <a:lnTo>
                    <a:pt x="493" y="389"/>
                  </a:lnTo>
                  <a:lnTo>
                    <a:pt x="499" y="391"/>
                  </a:lnTo>
                  <a:lnTo>
                    <a:pt x="505" y="391"/>
                  </a:lnTo>
                  <a:lnTo>
                    <a:pt x="511" y="392"/>
                  </a:lnTo>
                  <a:lnTo>
                    <a:pt x="518" y="391"/>
                  </a:lnTo>
                  <a:lnTo>
                    <a:pt x="523" y="391"/>
                  </a:lnTo>
                  <a:lnTo>
                    <a:pt x="529" y="389"/>
                  </a:lnTo>
                  <a:lnTo>
                    <a:pt x="535" y="386"/>
                  </a:lnTo>
                  <a:lnTo>
                    <a:pt x="540" y="384"/>
                  </a:lnTo>
                  <a:lnTo>
                    <a:pt x="545" y="381"/>
                  </a:lnTo>
                  <a:lnTo>
                    <a:pt x="550" y="378"/>
                  </a:lnTo>
                  <a:lnTo>
                    <a:pt x="553" y="374"/>
                  </a:lnTo>
                  <a:lnTo>
                    <a:pt x="558" y="369"/>
                  </a:lnTo>
                  <a:lnTo>
                    <a:pt x="561" y="365"/>
                  </a:lnTo>
                  <a:lnTo>
                    <a:pt x="564" y="360"/>
                  </a:lnTo>
                  <a:lnTo>
                    <a:pt x="567" y="354"/>
                  </a:lnTo>
                  <a:lnTo>
                    <a:pt x="568" y="349"/>
                  </a:lnTo>
                  <a:lnTo>
                    <a:pt x="570" y="343"/>
                  </a:lnTo>
                  <a:lnTo>
                    <a:pt x="571" y="337"/>
                  </a:lnTo>
                  <a:lnTo>
                    <a:pt x="571" y="332"/>
                  </a:lnTo>
                  <a:lnTo>
                    <a:pt x="570" y="322"/>
                  </a:lnTo>
                  <a:lnTo>
                    <a:pt x="568" y="312"/>
                  </a:lnTo>
                  <a:lnTo>
                    <a:pt x="565" y="304"/>
                  </a:lnTo>
                  <a:lnTo>
                    <a:pt x="560" y="296"/>
                  </a:lnTo>
                  <a:lnTo>
                    <a:pt x="711" y="114"/>
                  </a:lnTo>
                  <a:lnTo>
                    <a:pt x="717" y="117"/>
                  </a:lnTo>
                  <a:lnTo>
                    <a:pt x="724" y="119"/>
                  </a:lnTo>
                  <a:lnTo>
                    <a:pt x="730" y="120"/>
                  </a:lnTo>
                  <a:lnTo>
                    <a:pt x="737" y="120"/>
                  </a:lnTo>
                  <a:lnTo>
                    <a:pt x="743" y="120"/>
                  </a:lnTo>
                  <a:lnTo>
                    <a:pt x="750" y="119"/>
                  </a:lnTo>
                  <a:lnTo>
                    <a:pt x="755" y="118"/>
                  </a:lnTo>
                  <a:lnTo>
                    <a:pt x="760" y="116"/>
                  </a:lnTo>
                  <a:lnTo>
                    <a:pt x="766" y="113"/>
                  </a:lnTo>
                  <a:lnTo>
                    <a:pt x="771" y="110"/>
                  </a:lnTo>
                  <a:lnTo>
                    <a:pt x="775" y="106"/>
                  </a:lnTo>
                  <a:lnTo>
                    <a:pt x="780" y="103"/>
                  </a:lnTo>
                  <a:lnTo>
                    <a:pt x="784" y="99"/>
                  </a:lnTo>
                  <a:lnTo>
                    <a:pt x="787" y="94"/>
                  </a:lnTo>
                  <a:lnTo>
                    <a:pt x="790" y="89"/>
                  </a:lnTo>
                  <a:lnTo>
                    <a:pt x="792" y="84"/>
                  </a:lnTo>
                  <a:lnTo>
                    <a:pt x="795" y="79"/>
                  </a:lnTo>
                  <a:lnTo>
                    <a:pt x="796" y="72"/>
                  </a:lnTo>
                  <a:lnTo>
                    <a:pt x="797" y="67"/>
                  </a:lnTo>
                  <a:lnTo>
                    <a:pt x="797" y="60"/>
                  </a:lnTo>
                  <a:lnTo>
                    <a:pt x="797" y="54"/>
                  </a:lnTo>
                  <a:lnTo>
                    <a:pt x="796" y="48"/>
                  </a:lnTo>
                  <a:lnTo>
                    <a:pt x="795" y="42"/>
                  </a:lnTo>
                  <a:lnTo>
                    <a:pt x="792" y="37"/>
                  </a:lnTo>
                  <a:lnTo>
                    <a:pt x="790" y="31"/>
                  </a:lnTo>
                  <a:lnTo>
                    <a:pt x="787" y="27"/>
                  </a:lnTo>
                  <a:lnTo>
                    <a:pt x="784" y="22"/>
                  </a:lnTo>
                  <a:lnTo>
                    <a:pt x="780" y="17"/>
                  </a:lnTo>
                  <a:lnTo>
                    <a:pt x="775" y="14"/>
                  </a:lnTo>
                  <a:lnTo>
                    <a:pt x="771" y="10"/>
                  </a:lnTo>
                  <a:lnTo>
                    <a:pt x="766" y="8"/>
                  </a:lnTo>
                  <a:lnTo>
                    <a:pt x="760" y="5"/>
                  </a:lnTo>
                  <a:lnTo>
                    <a:pt x="755" y="2"/>
                  </a:lnTo>
                  <a:lnTo>
                    <a:pt x="750" y="1"/>
                  </a:lnTo>
                  <a:lnTo>
                    <a:pt x="743" y="0"/>
                  </a:lnTo>
                  <a:lnTo>
                    <a:pt x="737" y="0"/>
                  </a:lnTo>
                  <a:lnTo>
                    <a:pt x="731" y="0"/>
                  </a:lnTo>
                  <a:lnTo>
                    <a:pt x="725" y="1"/>
                  </a:lnTo>
                  <a:lnTo>
                    <a:pt x="719" y="2"/>
                  </a:lnTo>
                  <a:lnTo>
                    <a:pt x="713" y="5"/>
                  </a:lnTo>
                  <a:lnTo>
                    <a:pt x="709" y="8"/>
                  </a:lnTo>
                  <a:lnTo>
                    <a:pt x="703" y="10"/>
                  </a:lnTo>
                  <a:lnTo>
                    <a:pt x="699" y="14"/>
                  </a:lnTo>
                  <a:lnTo>
                    <a:pt x="695" y="17"/>
                  </a:lnTo>
                  <a:lnTo>
                    <a:pt x="691" y="22"/>
                  </a:lnTo>
                  <a:lnTo>
                    <a:pt x="687" y="27"/>
                  </a:lnTo>
                  <a:lnTo>
                    <a:pt x="684" y="31"/>
                  </a:lnTo>
                  <a:lnTo>
                    <a:pt x="682" y="37"/>
                  </a:lnTo>
                  <a:lnTo>
                    <a:pt x="680" y="42"/>
                  </a:lnTo>
                  <a:lnTo>
                    <a:pt x="678" y="48"/>
                  </a:lnTo>
                  <a:lnTo>
                    <a:pt x="677" y="54"/>
                  </a:lnTo>
                  <a:lnTo>
                    <a:pt x="677" y="60"/>
                  </a:lnTo>
                  <a:lnTo>
                    <a:pt x="678" y="70"/>
                  </a:lnTo>
                  <a:lnTo>
                    <a:pt x="680" y="79"/>
                  </a:lnTo>
                  <a:lnTo>
                    <a:pt x="683" y="87"/>
                  </a:lnTo>
                  <a:lnTo>
                    <a:pt x="688" y="96"/>
                  </a:lnTo>
                  <a:lnTo>
                    <a:pt x="537" y="277"/>
                  </a:lnTo>
                  <a:lnTo>
                    <a:pt x="531" y="275"/>
                  </a:lnTo>
                  <a:lnTo>
                    <a:pt x="524" y="273"/>
                  </a:lnTo>
                  <a:lnTo>
                    <a:pt x="518" y="272"/>
                  </a:lnTo>
                  <a:lnTo>
                    <a:pt x="511" y="271"/>
                  </a:lnTo>
                  <a:lnTo>
                    <a:pt x="504" y="272"/>
                  </a:lnTo>
                  <a:lnTo>
                    <a:pt x="496" y="273"/>
                  </a:lnTo>
                  <a:lnTo>
                    <a:pt x="490" y="275"/>
                  </a:lnTo>
                  <a:lnTo>
                    <a:pt x="484" y="278"/>
                  </a:lnTo>
                  <a:lnTo>
                    <a:pt x="478" y="281"/>
                  </a:lnTo>
                  <a:lnTo>
                    <a:pt x="472" y="286"/>
                  </a:lnTo>
                  <a:lnTo>
                    <a:pt x="467" y="291"/>
                  </a:lnTo>
                  <a:lnTo>
                    <a:pt x="463" y="295"/>
                  </a:lnTo>
                  <a:lnTo>
                    <a:pt x="345" y="248"/>
                  </a:lnTo>
                  <a:lnTo>
                    <a:pt x="345" y="245"/>
                  </a:lnTo>
                  <a:lnTo>
                    <a:pt x="345" y="240"/>
                  </a:lnTo>
                  <a:lnTo>
                    <a:pt x="345" y="235"/>
                  </a:lnTo>
                  <a:lnTo>
                    <a:pt x="344" y="229"/>
                  </a:lnTo>
                  <a:lnTo>
                    <a:pt x="343" y="223"/>
                  </a:lnTo>
                  <a:lnTo>
                    <a:pt x="341" y="218"/>
                  </a:lnTo>
                  <a:lnTo>
                    <a:pt x="339" y="213"/>
                  </a:lnTo>
                  <a:lnTo>
                    <a:pt x="336" y="207"/>
                  </a:lnTo>
                  <a:lnTo>
                    <a:pt x="332" y="203"/>
                  </a:lnTo>
                  <a:lnTo>
                    <a:pt x="328" y="199"/>
                  </a:lnTo>
                  <a:lnTo>
                    <a:pt x="324" y="194"/>
                  </a:lnTo>
                  <a:lnTo>
                    <a:pt x="319" y="191"/>
                  </a:lnTo>
                  <a:lnTo>
                    <a:pt x="314" y="188"/>
                  </a:lnTo>
                  <a:lnTo>
                    <a:pt x="309" y="186"/>
                  </a:lnTo>
                  <a:lnTo>
                    <a:pt x="303" y="184"/>
                  </a:lnTo>
                  <a:lnTo>
                    <a:pt x="298" y="181"/>
                  </a:lnTo>
                  <a:lnTo>
                    <a:pt x="292" y="181"/>
                  </a:lnTo>
                  <a:lnTo>
                    <a:pt x="285" y="180"/>
                  </a:lnTo>
                  <a:lnTo>
                    <a:pt x="280" y="181"/>
                  </a:lnTo>
                  <a:lnTo>
                    <a:pt x="273" y="181"/>
                  </a:lnTo>
                  <a:lnTo>
                    <a:pt x="268" y="184"/>
                  </a:lnTo>
                  <a:lnTo>
                    <a:pt x="262" y="186"/>
                  </a:lnTo>
                  <a:lnTo>
                    <a:pt x="257" y="188"/>
                  </a:lnTo>
                  <a:lnTo>
                    <a:pt x="252" y="191"/>
                  </a:lnTo>
                  <a:lnTo>
                    <a:pt x="248" y="194"/>
                  </a:lnTo>
                  <a:lnTo>
                    <a:pt x="243" y="199"/>
                  </a:lnTo>
                  <a:lnTo>
                    <a:pt x="239" y="203"/>
                  </a:lnTo>
                  <a:lnTo>
                    <a:pt x="236" y="207"/>
                  </a:lnTo>
                  <a:lnTo>
                    <a:pt x="233" y="213"/>
                  </a:lnTo>
                  <a:lnTo>
                    <a:pt x="230" y="218"/>
                  </a:lnTo>
                  <a:lnTo>
                    <a:pt x="228" y="223"/>
                  </a:lnTo>
                  <a:lnTo>
                    <a:pt x="226" y="229"/>
                  </a:lnTo>
                  <a:lnTo>
                    <a:pt x="225" y="235"/>
                  </a:lnTo>
                  <a:lnTo>
                    <a:pt x="225" y="240"/>
                  </a:lnTo>
                  <a:lnTo>
                    <a:pt x="226" y="248"/>
                  </a:lnTo>
                  <a:lnTo>
                    <a:pt x="227" y="254"/>
                  </a:lnTo>
                  <a:lnTo>
                    <a:pt x="229" y="261"/>
                  </a:lnTo>
                  <a:lnTo>
                    <a:pt x="231" y="267"/>
                  </a:lnTo>
                  <a:lnTo>
                    <a:pt x="94" y="387"/>
                  </a:lnTo>
                  <a:lnTo>
                    <a:pt x="86" y="382"/>
                  </a:lnTo>
                  <a:lnTo>
                    <a:pt x="78" y="379"/>
                  </a:lnTo>
                  <a:lnTo>
                    <a:pt x="68" y="377"/>
                  </a:lnTo>
                  <a:lnTo>
                    <a:pt x="60" y="377"/>
                  </a:lnTo>
                  <a:lnTo>
                    <a:pt x="53" y="377"/>
                  </a:lnTo>
                  <a:lnTo>
                    <a:pt x="47" y="378"/>
                  </a:lnTo>
                  <a:lnTo>
                    <a:pt x="42" y="379"/>
                  </a:lnTo>
                  <a:lnTo>
                    <a:pt x="36" y="381"/>
                  </a:lnTo>
                  <a:lnTo>
                    <a:pt x="31" y="383"/>
                  </a:lnTo>
                  <a:lnTo>
                    <a:pt x="26" y="386"/>
                  </a:lnTo>
                  <a:lnTo>
                    <a:pt x="21" y="391"/>
                  </a:lnTo>
                  <a:lnTo>
                    <a:pt x="17" y="394"/>
                  </a:lnTo>
                  <a:lnTo>
                    <a:pt x="13" y="398"/>
                  </a:lnTo>
                  <a:lnTo>
                    <a:pt x="9" y="402"/>
                  </a:lnTo>
                  <a:lnTo>
                    <a:pt x="6" y="408"/>
                  </a:lnTo>
                  <a:lnTo>
                    <a:pt x="4" y="413"/>
                  </a:lnTo>
                  <a:lnTo>
                    <a:pt x="2" y="419"/>
                  </a:lnTo>
                  <a:lnTo>
                    <a:pt x="1" y="425"/>
                  </a:lnTo>
                  <a:lnTo>
                    <a:pt x="0" y="430"/>
                  </a:lnTo>
                  <a:lnTo>
                    <a:pt x="0" y="437"/>
                  </a:lnTo>
                  <a:lnTo>
                    <a:pt x="0" y="443"/>
                  </a:lnTo>
                  <a:lnTo>
                    <a:pt x="1" y="449"/>
                  </a:lnTo>
                  <a:lnTo>
                    <a:pt x="2" y="455"/>
                  </a:lnTo>
                  <a:lnTo>
                    <a:pt x="4" y="460"/>
                  </a:lnTo>
                  <a:lnTo>
                    <a:pt x="6" y="466"/>
                  </a:lnTo>
                  <a:lnTo>
                    <a:pt x="9" y="470"/>
                  </a:lnTo>
                  <a:lnTo>
                    <a:pt x="13" y="475"/>
                  </a:lnTo>
                  <a:lnTo>
                    <a:pt x="17" y="480"/>
                  </a:lnTo>
                  <a:lnTo>
                    <a:pt x="21" y="483"/>
                  </a:lnTo>
                  <a:lnTo>
                    <a:pt x="26" y="486"/>
                  </a:lnTo>
                  <a:lnTo>
                    <a:pt x="31" y="489"/>
                  </a:lnTo>
                  <a:lnTo>
                    <a:pt x="36" y="493"/>
                  </a:lnTo>
                  <a:lnTo>
                    <a:pt x="42" y="494"/>
                  </a:lnTo>
                  <a:lnTo>
                    <a:pt x="47" y="496"/>
                  </a:lnTo>
                  <a:lnTo>
                    <a:pt x="53" y="497"/>
                  </a:lnTo>
                  <a:lnTo>
                    <a:pt x="60" y="4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13" name="Group 112">
            <a:extLst>
              <a:ext uri="{FF2B5EF4-FFF2-40B4-BE49-F238E27FC236}">
                <a16:creationId xmlns:a16="http://schemas.microsoft.com/office/drawing/2014/main" id="{180A6856-8273-4FF0-B7FC-2F1531001570}"/>
              </a:ext>
            </a:extLst>
          </p:cNvPr>
          <p:cNvGrpSpPr/>
          <p:nvPr/>
        </p:nvGrpSpPr>
        <p:grpSpPr>
          <a:xfrm>
            <a:off x="10504378" y="1575593"/>
            <a:ext cx="285750" cy="287338"/>
            <a:chOff x="3746500" y="1344613"/>
            <a:chExt cx="285750" cy="287338"/>
          </a:xfrm>
          <a:solidFill>
            <a:schemeClr val="bg1"/>
          </a:solidFill>
        </p:grpSpPr>
        <p:sp>
          <p:nvSpPr>
            <p:cNvPr id="115" name="Freeform 497">
              <a:extLst>
                <a:ext uri="{FF2B5EF4-FFF2-40B4-BE49-F238E27FC236}">
                  <a16:creationId xmlns:a16="http://schemas.microsoft.com/office/drawing/2014/main" id="{8014AE55-F1E3-45D8-ABE4-739CB70EBE8F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6500" y="1344613"/>
              <a:ext cx="285750" cy="182563"/>
            </a:xfrm>
            <a:custGeom>
              <a:avLst/>
              <a:gdLst>
                <a:gd name="T0" fmla="*/ 0 w 903"/>
                <a:gd name="T1" fmla="*/ 0 h 573"/>
                <a:gd name="T2" fmla="*/ 0 w 903"/>
                <a:gd name="T3" fmla="*/ 467 h 573"/>
                <a:gd name="T4" fmla="*/ 1 w 903"/>
                <a:gd name="T5" fmla="*/ 459 h 573"/>
                <a:gd name="T6" fmla="*/ 2 w 903"/>
                <a:gd name="T7" fmla="*/ 453 h 573"/>
                <a:gd name="T8" fmla="*/ 5 w 903"/>
                <a:gd name="T9" fmla="*/ 446 h 573"/>
                <a:gd name="T10" fmla="*/ 8 w 903"/>
                <a:gd name="T11" fmla="*/ 440 h 573"/>
                <a:gd name="T12" fmla="*/ 12 w 903"/>
                <a:gd name="T13" fmla="*/ 434 h 573"/>
                <a:gd name="T14" fmla="*/ 18 w 903"/>
                <a:gd name="T15" fmla="*/ 428 h 573"/>
                <a:gd name="T16" fmla="*/ 23 w 903"/>
                <a:gd name="T17" fmla="*/ 423 h 573"/>
                <a:gd name="T18" fmla="*/ 30 w 903"/>
                <a:gd name="T19" fmla="*/ 419 h 573"/>
                <a:gd name="T20" fmla="*/ 30 w 903"/>
                <a:gd name="T21" fmla="*/ 30 h 573"/>
                <a:gd name="T22" fmla="*/ 873 w 903"/>
                <a:gd name="T23" fmla="*/ 30 h 573"/>
                <a:gd name="T24" fmla="*/ 873 w 903"/>
                <a:gd name="T25" fmla="*/ 543 h 573"/>
                <a:gd name="T26" fmla="*/ 481 w 903"/>
                <a:gd name="T27" fmla="*/ 543 h 573"/>
                <a:gd name="T28" fmla="*/ 481 w 903"/>
                <a:gd name="T29" fmla="*/ 573 h 573"/>
                <a:gd name="T30" fmla="*/ 903 w 903"/>
                <a:gd name="T31" fmla="*/ 573 h 573"/>
                <a:gd name="T32" fmla="*/ 903 w 903"/>
                <a:gd name="T33" fmla="*/ 0 h 573"/>
                <a:gd name="T34" fmla="*/ 0 w 903"/>
                <a:gd name="T35" fmla="*/ 0 h 5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03" h="573">
                  <a:moveTo>
                    <a:pt x="0" y="0"/>
                  </a:moveTo>
                  <a:lnTo>
                    <a:pt x="0" y="467"/>
                  </a:lnTo>
                  <a:lnTo>
                    <a:pt x="1" y="459"/>
                  </a:lnTo>
                  <a:lnTo>
                    <a:pt x="2" y="453"/>
                  </a:lnTo>
                  <a:lnTo>
                    <a:pt x="5" y="446"/>
                  </a:lnTo>
                  <a:lnTo>
                    <a:pt x="8" y="440"/>
                  </a:lnTo>
                  <a:lnTo>
                    <a:pt x="12" y="434"/>
                  </a:lnTo>
                  <a:lnTo>
                    <a:pt x="18" y="428"/>
                  </a:lnTo>
                  <a:lnTo>
                    <a:pt x="23" y="423"/>
                  </a:lnTo>
                  <a:lnTo>
                    <a:pt x="30" y="419"/>
                  </a:lnTo>
                  <a:lnTo>
                    <a:pt x="30" y="30"/>
                  </a:lnTo>
                  <a:lnTo>
                    <a:pt x="873" y="30"/>
                  </a:lnTo>
                  <a:lnTo>
                    <a:pt x="873" y="543"/>
                  </a:lnTo>
                  <a:lnTo>
                    <a:pt x="481" y="543"/>
                  </a:lnTo>
                  <a:lnTo>
                    <a:pt x="481" y="573"/>
                  </a:lnTo>
                  <a:lnTo>
                    <a:pt x="903" y="573"/>
                  </a:lnTo>
                  <a:lnTo>
                    <a:pt x="90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7" name="Freeform 498">
              <a:extLst>
                <a:ext uri="{FF2B5EF4-FFF2-40B4-BE49-F238E27FC236}">
                  <a16:creationId xmlns:a16="http://schemas.microsoft.com/office/drawing/2014/main" id="{CEAE500C-7296-4DAD-9646-2E31922B6E1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75075" y="1373188"/>
              <a:ext cx="228600" cy="125413"/>
            </a:xfrm>
            <a:custGeom>
              <a:avLst/>
              <a:gdLst>
                <a:gd name="T0" fmla="*/ 330 w 723"/>
                <a:gd name="T1" fmla="*/ 283 h 392"/>
                <a:gd name="T2" fmla="*/ 295 w 723"/>
                <a:gd name="T3" fmla="*/ 263 h 392"/>
                <a:gd name="T4" fmla="*/ 269 w 723"/>
                <a:gd name="T5" fmla="*/ 232 h 392"/>
                <a:gd name="T6" fmla="*/ 257 w 723"/>
                <a:gd name="T7" fmla="*/ 192 h 392"/>
                <a:gd name="T8" fmla="*/ 260 w 723"/>
                <a:gd name="T9" fmla="*/ 151 h 392"/>
                <a:gd name="T10" fmla="*/ 281 w 723"/>
                <a:gd name="T11" fmla="*/ 115 h 392"/>
                <a:gd name="T12" fmla="*/ 312 w 723"/>
                <a:gd name="T13" fmla="*/ 90 h 392"/>
                <a:gd name="T14" fmla="*/ 350 w 723"/>
                <a:gd name="T15" fmla="*/ 77 h 392"/>
                <a:gd name="T16" fmla="*/ 392 w 723"/>
                <a:gd name="T17" fmla="*/ 81 h 392"/>
                <a:gd name="T18" fmla="*/ 429 w 723"/>
                <a:gd name="T19" fmla="*/ 100 h 392"/>
                <a:gd name="T20" fmla="*/ 454 w 723"/>
                <a:gd name="T21" fmla="*/ 131 h 392"/>
                <a:gd name="T22" fmla="*/ 466 w 723"/>
                <a:gd name="T23" fmla="*/ 171 h 392"/>
                <a:gd name="T24" fmla="*/ 462 w 723"/>
                <a:gd name="T25" fmla="*/ 213 h 392"/>
                <a:gd name="T26" fmla="*/ 443 w 723"/>
                <a:gd name="T27" fmla="*/ 248 h 392"/>
                <a:gd name="T28" fmla="*/ 412 w 723"/>
                <a:gd name="T29" fmla="*/ 274 h 392"/>
                <a:gd name="T30" fmla="*/ 372 w 723"/>
                <a:gd name="T31" fmla="*/ 287 h 392"/>
                <a:gd name="T32" fmla="*/ 96 w 723"/>
                <a:gd name="T33" fmla="*/ 151 h 392"/>
                <a:gd name="T34" fmla="*/ 68 w 723"/>
                <a:gd name="T35" fmla="*/ 131 h 392"/>
                <a:gd name="T36" fmla="*/ 61 w 723"/>
                <a:gd name="T37" fmla="*/ 97 h 392"/>
                <a:gd name="T38" fmla="*/ 80 w 723"/>
                <a:gd name="T39" fmla="*/ 69 h 392"/>
                <a:gd name="T40" fmla="*/ 114 w 723"/>
                <a:gd name="T41" fmla="*/ 63 h 392"/>
                <a:gd name="T42" fmla="*/ 143 w 723"/>
                <a:gd name="T43" fmla="*/ 81 h 392"/>
                <a:gd name="T44" fmla="*/ 150 w 723"/>
                <a:gd name="T45" fmla="*/ 115 h 392"/>
                <a:gd name="T46" fmla="*/ 131 w 723"/>
                <a:gd name="T47" fmla="*/ 144 h 392"/>
                <a:gd name="T48" fmla="*/ 106 w 723"/>
                <a:gd name="T49" fmla="*/ 152 h 392"/>
                <a:gd name="T50" fmla="*/ 642 w 723"/>
                <a:gd name="T51" fmla="*/ 249 h 392"/>
                <a:gd name="T52" fmla="*/ 661 w 723"/>
                <a:gd name="T53" fmla="*/ 278 h 392"/>
                <a:gd name="T54" fmla="*/ 655 w 723"/>
                <a:gd name="T55" fmla="*/ 313 h 392"/>
                <a:gd name="T56" fmla="*/ 626 w 723"/>
                <a:gd name="T57" fmla="*/ 331 h 392"/>
                <a:gd name="T58" fmla="*/ 592 w 723"/>
                <a:gd name="T59" fmla="*/ 324 h 392"/>
                <a:gd name="T60" fmla="*/ 573 w 723"/>
                <a:gd name="T61" fmla="*/ 297 h 392"/>
                <a:gd name="T62" fmla="*/ 580 w 723"/>
                <a:gd name="T63" fmla="*/ 262 h 392"/>
                <a:gd name="T64" fmla="*/ 608 w 723"/>
                <a:gd name="T65" fmla="*/ 243 h 392"/>
                <a:gd name="T66" fmla="*/ 669 w 723"/>
                <a:gd name="T67" fmla="*/ 392 h 392"/>
                <a:gd name="T68" fmla="*/ 691 w 723"/>
                <a:gd name="T69" fmla="*/ 386 h 392"/>
                <a:gd name="T70" fmla="*/ 709 w 723"/>
                <a:gd name="T71" fmla="*/ 371 h 392"/>
                <a:gd name="T72" fmla="*/ 720 w 723"/>
                <a:gd name="T73" fmla="*/ 350 h 392"/>
                <a:gd name="T74" fmla="*/ 723 w 723"/>
                <a:gd name="T75" fmla="*/ 62 h 392"/>
                <a:gd name="T76" fmla="*/ 718 w 723"/>
                <a:gd name="T77" fmla="*/ 38 h 392"/>
                <a:gd name="T78" fmla="*/ 705 w 723"/>
                <a:gd name="T79" fmla="*/ 19 h 392"/>
                <a:gd name="T80" fmla="*/ 686 w 723"/>
                <a:gd name="T81" fmla="*/ 6 h 392"/>
                <a:gd name="T82" fmla="*/ 663 w 723"/>
                <a:gd name="T83" fmla="*/ 2 h 392"/>
                <a:gd name="T84" fmla="*/ 43 w 723"/>
                <a:gd name="T85" fmla="*/ 4 h 392"/>
                <a:gd name="T86" fmla="*/ 22 w 723"/>
                <a:gd name="T87" fmla="*/ 14 h 392"/>
                <a:gd name="T88" fmla="*/ 7 w 723"/>
                <a:gd name="T89" fmla="*/ 33 h 392"/>
                <a:gd name="T90" fmla="*/ 1 w 723"/>
                <a:gd name="T91" fmla="*/ 55 h 392"/>
                <a:gd name="T92" fmla="*/ 46 w 723"/>
                <a:gd name="T93" fmla="*/ 294 h 392"/>
                <a:gd name="T94" fmla="*/ 151 w 723"/>
                <a:gd name="T95" fmla="*/ 287 h 392"/>
                <a:gd name="T96" fmla="*/ 244 w 723"/>
                <a:gd name="T97" fmla="*/ 293 h 392"/>
                <a:gd name="T98" fmla="*/ 326 w 723"/>
                <a:gd name="T99" fmla="*/ 312 h 392"/>
                <a:gd name="T100" fmla="*/ 373 w 723"/>
                <a:gd name="T101" fmla="*/ 337 h 392"/>
                <a:gd name="T102" fmla="*/ 389 w 723"/>
                <a:gd name="T103" fmla="*/ 362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723" h="392">
                  <a:moveTo>
                    <a:pt x="361" y="287"/>
                  </a:moveTo>
                  <a:lnTo>
                    <a:pt x="350" y="287"/>
                  </a:lnTo>
                  <a:lnTo>
                    <a:pt x="341" y="285"/>
                  </a:lnTo>
                  <a:lnTo>
                    <a:pt x="330" y="283"/>
                  </a:lnTo>
                  <a:lnTo>
                    <a:pt x="320" y="278"/>
                  </a:lnTo>
                  <a:lnTo>
                    <a:pt x="312" y="274"/>
                  </a:lnTo>
                  <a:lnTo>
                    <a:pt x="302" y="269"/>
                  </a:lnTo>
                  <a:lnTo>
                    <a:pt x="295" y="263"/>
                  </a:lnTo>
                  <a:lnTo>
                    <a:pt x="287" y="256"/>
                  </a:lnTo>
                  <a:lnTo>
                    <a:pt x="281" y="248"/>
                  </a:lnTo>
                  <a:lnTo>
                    <a:pt x="274" y="241"/>
                  </a:lnTo>
                  <a:lnTo>
                    <a:pt x="269" y="232"/>
                  </a:lnTo>
                  <a:lnTo>
                    <a:pt x="265" y="223"/>
                  </a:lnTo>
                  <a:lnTo>
                    <a:pt x="260" y="213"/>
                  </a:lnTo>
                  <a:lnTo>
                    <a:pt x="258" y="203"/>
                  </a:lnTo>
                  <a:lnTo>
                    <a:pt x="257" y="192"/>
                  </a:lnTo>
                  <a:lnTo>
                    <a:pt x="256" y="182"/>
                  </a:lnTo>
                  <a:lnTo>
                    <a:pt x="257" y="171"/>
                  </a:lnTo>
                  <a:lnTo>
                    <a:pt x="258" y="160"/>
                  </a:lnTo>
                  <a:lnTo>
                    <a:pt x="260" y="151"/>
                  </a:lnTo>
                  <a:lnTo>
                    <a:pt x="265" y="141"/>
                  </a:lnTo>
                  <a:lnTo>
                    <a:pt x="269" y="131"/>
                  </a:lnTo>
                  <a:lnTo>
                    <a:pt x="274" y="123"/>
                  </a:lnTo>
                  <a:lnTo>
                    <a:pt x="281" y="115"/>
                  </a:lnTo>
                  <a:lnTo>
                    <a:pt x="287" y="108"/>
                  </a:lnTo>
                  <a:lnTo>
                    <a:pt x="295" y="100"/>
                  </a:lnTo>
                  <a:lnTo>
                    <a:pt x="302" y="95"/>
                  </a:lnTo>
                  <a:lnTo>
                    <a:pt x="312" y="90"/>
                  </a:lnTo>
                  <a:lnTo>
                    <a:pt x="320" y="84"/>
                  </a:lnTo>
                  <a:lnTo>
                    <a:pt x="330" y="81"/>
                  </a:lnTo>
                  <a:lnTo>
                    <a:pt x="341" y="79"/>
                  </a:lnTo>
                  <a:lnTo>
                    <a:pt x="350" y="77"/>
                  </a:lnTo>
                  <a:lnTo>
                    <a:pt x="361" y="77"/>
                  </a:lnTo>
                  <a:lnTo>
                    <a:pt x="372" y="77"/>
                  </a:lnTo>
                  <a:lnTo>
                    <a:pt x="383" y="79"/>
                  </a:lnTo>
                  <a:lnTo>
                    <a:pt x="392" y="81"/>
                  </a:lnTo>
                  <a:lnTo>
                    <a:pt x="403" y="84"/>
                  </a:lnTo>
                  <a:lnTo>
                    <a:pt x="412" y="90"/>
                  </a:lnTo>
                  <a:lnTo>
                    <a:pt x="420" y="95"/>
                  </a:lnTo>
                  <a:lnTo>
                    <a:pt x="429" y="100"/>
                  </a:lnTo>
                  <a:lnTo>
                    <a:pt x="436" y="108"/>
                  </a:lnTo>
                  <a:lnTo>
                    <a:pt x="443" y="115"/>
                  </a:lnTo>
                  <a:lnTo>
                    <a:pt x="449" y="123"/>
                  </a:lnTo>
                  <a:lnTo>
                    <a:pt x="454" y="131"/>
                  </a:lnTo>
                  <a:lnTo>
                    <a:pt x="459" y="141"/>
                  </a:lnTo>
                  <a:lnTo>
                    <a:pt x="462" y="151"/>
                  </a:lnTo>
                  <a:lnTo>
                    <a:pt x="465" y="160"/>
                  </a:lnTo>
                  <a:lnTo>
                    <a:pt x="466" y="171"/>
                  </a:lnTo>
                  <a:lnTo>
                    <a:pt x="467" y="182"/>
                  </a:lnTo>
                  <a:lnTo>
                    <a:pt x="466" y="192"/>
                  </a:lnTo>
                  <a:lnTo>
                    <a:pt x="465" y="203"/>
                  </a:lnTo>
                  <a:lnTo>
                    <a:pt x="462" y="213"/>
                  </a:lnTo>
                  <a:lnTo>
                    <a:pt x="459" y="223"/>
                  </a:lnTo>
                  <a:lnTo>
                    <a:pt x="454" y="232"/>
                  </a:lnTo>
                  <a:lnTo>
                    <a:pt x="449" y="241"/>
                  </a:lnTo>
                  <a:lnTo>
                    <a:pt x="443" y="248"/>
                  </a:lnTo>
                  <a:lnTo>
                    <a:pt x="436" y="256"/>
                  </a:lnTo>
                  <a:lnTo>
                    <a:pt x="429" y="263"/>
                  </a:lnTo>
                  <a:lnTo>
                    <a:pt x="420" y="269"/>
                  </a:lnTo>
                  <a:lnTo>
                    <a:pt x="412" y="274"/>
                  </a:lnTo>
                  <a:lnTo>
                    <a:pt x="403" y="278"/>
                  </a:lnTo>
                  <a:lnTo>
                    <a:pt x="392" y="283"/>
                  </a:lnTo>
                  <a:lnTo>
                    <a:pt x="383" y="285"/>
                  </a:lnTo>
                  <a:lnTo>
                    <a:pt x="372" y="287"/>
                  </a:lnTo>
                  <a:lnTo>
                    <a:pt x="361" y="287"/>
                  </a:lnTo>
                  <a:lnTo>
                    <a:pt x="361" y="287"/>
                  </a:lnTo>
                  <a:close/>
                  <a:moveTo>
                    <a:pt x="106" y="152"/>
                  </a:moveTo>
                  <a:lnTo>
                    <a:pt x="96" y="151"/>
                  </a:lnTo>
                  <a:lnTo>
                    <a:pt x="88" y="149"/>
                  </a:lnTo>
                  <a:lnTo>
                    <a:pt x="80" y="144"/>
                  </a:lnTo>
                  <a:lnTo>
                    <a:pt x="74" y="139"/>
                  </a:lnTo>
                  <a:lnTo>
                    <a:pt x="68" y="131"/>
                  </a:lnTo>
                  <a:lnTo>
                    <a:pt x="64" y="124"/>
                  </a:lnTo>
                  <a:lnTo>
                    <a:pt x="61" y="115"/>
                  </a:lnTo>
                  <a:lnTo>
                    <a:pt x="61" y="107"/>
                  </a:lnTo>
                  <a:lnTo>
                    <a:pt x="61" y="97"/>
                  </a:lnTo>
                  <a:lnTo>
                    <a:pt x="64" y="88"/>
                  </a:lnTo>
                  <a:lnTo>
                    <a:pt x="68" y="81"/>
                  </a:lnTo>
                  <a:lnTo>
                    <a:pt x="74" y="74"/>
                  </a:lnTo>
                  <a:lnTo>
                    <a:pt x="80" y="69"/>
                  </a:lnTo>
                  <a:lnTo>
                    <a:pt x="88" y="65"/>
                  </a:lnTo>
                  <a:lnTo>
                    <a:pt x="96" y="63"/>
                  </a:lnTo>
                  <a:lnTo>
                    <a:pt x="106" y="62"/>
                  </a:lnTo>
                  <a:lnTo>
                    <a:pt x="114" y="63"/>
                  </a:lnTo>
                  <a:lnTo>
                    <a:pt x="123" y="65"/>
                  </a:lnTo>
                  <a:lnTo>
                    <a:pt x="131" y="69"/>
                  </a:lnTo>
                  <a:lnTo>
                    <a:pt x="137" y="74"/>
                  </a:lnTo>
                  <a:lnTo>
                    <a:pt x="143" y="81"/>
                  </a:lnTo>
                  <a:lnTo>
                    <a:pt x="147" y="88"/>
                  </a:lnTo>
                  <a:lnTo>
                    <a:pt x="150" y="97"/>
                  </a:lnTo>
                  <a:lnTo>
                    <a:pt x="151" y="107"/>
                  </a:lnTo>
                  <a:lnTo>
                    <a:pt x="150" y="115"/>
                  </a:lnTo>
                  <a:lnTo>
                    <a:pt x="148" y="124"/>
                  </a:lnTo>
                  <a:lnTo>
                    <a:pt x="143" y="131"/>
                  </a:lnTo>
                  <a:lnTo>
                    <a:pt x="137" y="139"/>
                  </a:lnTo>
                  <a:lnTo>
                    <a:pt x="131" y="144"/>
                  </a:lnTo>
                  <a:lnTo>
                    <a:pt x="123" y="149"/>
                  </a:lnTo>
                  <a:lnTo>
                    <a:pt x="114" y="151"/>
                  </a:lnTo>
                  <a:lnTo>
                    <a:pt x="106" y="152"/>
                  </a:lnTo>
                  <a:lnTo>
                    <a:pt x="106" y="152"/>
                  </a:lnTo>
                  <a:close/>
                  <a:moveTo>
                    <a:pt x="617" y="242"/>
                  </a:moveTo>
                  <a:lnTo>
                    <a:pt x="626" y="243"/>
                  </a:lnTo>
                  <a:lnTo>
                    <a:pt x="635" y="245"/>
                  </a:lnTo>
                  <a:lnTo>
                    <a:pt x="642" y="249"/>
                  </a:lnTo>
                  <a:lnTo>
                    <a:pt x="650" y="255"/>
                  </a:lnTo>
                  <a:lnTo>
                    <a:pt x="655" y="262"/>
                  </a:lnTo>
                  <a:lnTo>
                    <a:pt x="659" y="270"/>
                  </a:lnTo>
                  <a:lnTo>
                    <a:pt x="661" y="278"/>
                  </a:lnTo>
                  <a:lnTo>
                    <a:pt x="663" y="287"/>
                  </a:lnTo>
                  <a:lnTo>
                    <a:pt x="661" y="297"/>
                  </a:lnTo>
                  <a:lnTo>
                    <a:pt x="659" y="305"/>
                  </a:lnTo>
                  <a:lnTo>
                    <a:pt x="655" y="313"/>
                  </a:lnTo>
                  <a:lnTo>
                    <a:pt x="650" y="319"/>
                  </a:lnTo>
                  <a:lnTo>
                    <a:pt x="642" y="324"/>
                  </a:lnTo>
                  <a:lnTo>
                    <a:pt x="635" y="329"/>
                  </a:lnTo>
                  <a:lnTo>
                    <a:pt x="626" y="331"/>
                  </a:lnTo>
                  <a:lnTo>
                    <a:pt x="617" y="332"/>
                  </a:lnTo>
                  <a:lnTo>
                    <a:pt x="608" y="331"/>
                  </a:lnTo>
                  <a:lnTo>
                    <a:pt x="600" y="329"/>
                  </a:lnTo>
                  <a:lnTo>
                    <a:pt x="592" y="324"/>
                  </a:lnTo>
                  <a:lnTo>
                    <a:pt x="585" y="319"/>
                  </a:lnTo>
                  <a:lnTo>
                    <a:pt x="580" y="313"/>
                  </a:lnTo>
                  <a:lnTo>
                    <a:pt x="576" y="305"/>
                  </a:lnTo>
                  <a:lnTo>
                    <a:pt x="573" y="297"/>
                  </a:lnTo>
                  <a:lnTo>
                    <a:pt x="572" y="287"/>
                  </a:lnTo>
                  <a:lnTo>
                    <a:pt x="573" y="278"/>
                  </a:lnTo>
                  <a:lnTo>
                    <a:pt x="576" y="270"/>
                  </a:lnTo>
                  <a:lnTo>
                    <a:pt x="580" y="262"/>
                  </a:lnTo>
                  <a:lnTo>
                    <a:pt x="585" y="255"/>
                  </a:lnTo>
                  <a:lnTo>
                    <a:pt x="592" y="249"/>
                  </a:lnTo>
                  <a:lnTo>
                    <a:pt x="600" y="245"/>
                  </a:lnTo>
                  <a:lnTo>
                    <a:pt x="608" y="243"/>
                  </a:lnTo>
                  <a:lnTo>
                    <a:pt x="617" y="242"/>
                  </a:lnTo>
                  <a:close/>
                  <a:moveTo>
                    <a:pt x="391" y="392"/>
                  </a:moveTo>
                  <a:lnTo>
                    <a:pt x="663" y="392"/>
                  </a:lnTo>
                  <a:lnTo>
                    <a:pt x="669" y="392"/>
                  </a:lnTo>
                  <a:lnTo>
                    <a:pt x="674" y="391"/>
                  </a:lnTo>
                  <a:lnTo>
                    <a:pt x="681" y="390"/>
                  </a:lnTo>
                  <a:lnTo>
                    <a:pt x="686" y="388"/>
                  </a:lnTo>
                  <a:lnTo>
                    <a:pt x="691" y="386"/>
                  </a:lnTo>
                  <a:lnTo>
                    <a:pt x="697" y="382"/>
                  </a:lnTo>
                  <a:lnTo>
                    <a:pt x="701" y="379"/>
                  </a:lnTo>
                  <a:lnTo>
                    <a:pt x="705" y="375"/>
                  </a:lnTo>
                  <a:lnTo>
                    <a:pt x="709" y="371"/>
                  </a:lnTo>
                  <a:lnTo>
                    <a:pt x="713" y="366"/>
                  </a:lnTo>
                  <a:lnTo>
                    <a:pt x="715" y="361"/>
                  </a:lnTo>
                  <a:lnTo>
                    <a:pt x="718" y="356"/>
                  </a:lnTo>
                  <a:lnTo>
                    <a:pt x="720" y="350"/>
                  </a:lnTo>
                  <a:lnTo>
                    <a:pt x="721" y="345"/>
                  </a:lnTo>
                  <a:lnTo>
                    <a:pt x="723" y="338"/>
                  </a:lnTo>
                  <a:lnTo>
                    <a:pt x="723" y="332"/>
                  </a:lnTo>
                  <a:lnTo>
                    <a:pt x="723" y="62"/>
                  </a:lnTo>
                  <a:lnTo>
                    <a:pt x="723" y="55"/>
                  </a:lnTo>
                  <a:lnTo>
                    <a:pt x="721" y="49"/>
                  </a:lnTo>
                  <a:lnTo>
                    <a:pt x="720" y="43"/>
                  </a:lnTo>
                  <a:lnTo>
                    <a:pt x="718" y="38"/>
                  </a:lnTo>
                  <a:lnTo>
                    <a:pt x="715" y="33"/>
                  </a:lnTo>
                  <a:lnTo>
                    <a:pt x="713" y="27"/>
                  </a:lnTo>
                  <a:lnTo>
                    <a:pt x="709" y="23"/>
                  </a:lnTo>
                  <a:lnTo>
                    <a:pt x="705" y="19"/>
                  </a:lnTo>
                  <a:lnTo>
                    <a:pt x="701" y="14"/>
                  </a:lnTo>
                  <a:lnTo>
                    <a:pt x="697" y="11"/>
                  </a:lnTo>
                  <a:lnTo>
                    <a:pt x="691" y="8"/>
                  </a:lnTo>
                  <a:lnTo>
                    <a:pt x="686" y="6"/>
                  </a:lnTo>
                  <a:lnTo>
                    <a:pt x="681" y="4"/>
                  </a:lnTo>
                  <a:lnTo>
                    <a:pt x="674" y="3"/>
                  </a:lnTo>
                  <a:lnTo>
                    <a:pt x="669" y="2"/>
                  </a:lnTo>
                  <a:lnTo>
                    <a:pt x="663" y="2"/>
                  </a:lnTo>
                  <a:lnTo>
                    <a:pt x="61" y="0"/>
                  </a:lnTo>
                  <a:lnTo>
                    <a:pt x="54" y="2"/>
                  </a:lnTo>
                  <a:lnTo>
                    <a:pt x="48" y="3"/>
                  </a:lnTo>
                  <a:lnTo>
                    <a:pt x="43" y="4"/>
                  </a:lnTo>
                  <a:lnTo>
                    <a:pt x="37" y="6"/>
                  </a:lnTo>
                  <a:lnTo>
                    <a:pt x="32" y="8"/>
                  </a:lnTo>
                  <a:lnTo>
                    <a:pt x="27" y="11"/>
                  </a:lnTo>
                  <a:lnTo>
                    <a:pt x="22" y="14"/>
                  </a:lnTo>
                  <a:lnTo>
                    <a:pt x="18" y="19"/>
                  </a:lnTo>
                  <a:lnTo>
                    <a:pt x="14" y="23"/>
                  </a:lnTo>
                  <a:lnTo>
                    <a:pt x="10" y="27"/>
                  </a:lnTo>
                  <a:lnTo>
                    <a:pt x="7" y="33"/>
                  </a:lnTo>
                  <a:lnTo>
                    <a:pt x="5" y="38"/>
                  </a:lnTo>
                  <a:lnTo>
                    <a:pt x="3" y="43"/>
                  </a:lnTo>
                  <a:lnTo>
                    <a:pt x="2" y="49"/>
                  </a:lnTo>
                  <a:lnTo>
                    <a:pt x="1" y="55"/>
                  </a:lnTo>
                  <a:lnTo>
                    <a:pt x="0" y="62"/>
                  </a:lnTo>
                  <a:lnTo>
                    <a:pt x="0" y="304"/>
                  </a:lnTo>
                  <a:lnTo>
                    <a:pt x="22" y="299"/>
                  </a:lnTo>
                  <a:lnTo>
                    <a:pt x="46" y="294"/>
                  </a:lnTo>
                  <a:lnTo>
                    <a:pt x="68" y="291"/>
                  </a:lnTo>
                  <a:lnTo>
                    <a:pt x="90" y="290"/>
                  </a:lnTo>
                  <a:lnTo>
                    <a:pt x="126" y="288"/>
                  </a:lnTo>
                  <a:lnTo>
                    <a:pt x="151" y="287"/>
                  </a:lnTo>
                  <a:lnTo>
                    <a:pt x="172" y="288"/>
                  </a:lnTo>
                  <a:lnTo>
                    <a:pt x="206" y="289"/>
                  </a:lnTo>
                  <a:lnTo>
                    <a:pt x="225" y="291"/>
                  </a:lnTo>
                  <a:lnTo>
                    <a:pt x="244" y="293"/>
                  </a:lnTo>
                  <a:lnTo>
                    <a:pt x="266" y="297"/>
                  </a:lnTo>
                  <a:lnTo>
                    <a:pt x="286" y="300"/>
                  </a:lnTo>
                  <a:lnTo>
                    <a:pt x="306" y="305"/>
                  </a:lnTo>
                  <a:lnTo>
                    <a:pt x="326" y="312"/>
                  </a:lnTo>
                  <a:lnTo>
                    <a:pt x="344" y="318"/>
                  </a:lnTo>
                  <a:lnTo>
                    <a:pt x="360" y="327"/>
                  </a:lnTo>
                  <a:lnTo>
                    <a:pt x="366" y="332"/>
                  </a:lnTo>
                  <a:lnTo>
                    <a:pt x="373" y="337"/>
                  </a:lnTo>
                  <a:lnTo>
                    <a:pt x="378" y="343"/>
                  </a:lnTo>
                  <a:lnTo>
                    <a:pt x="383" y="349"/>
                  </a:lnTo>
                  <a:lnTo>
                    <a:pt x="387" y="356"/>
                  </a:lnTo>
                  <a:lnTo>
                    <a:pt x="389" y="362"/>
                  </a:lnTo>
                  <a:lnTo>
                    <a:pt x="391" y="369"/>
                  </a:lnTo>
                  <a:lnTo>
                    <a:pt x="391" y="377"/>
                  </a:lnTo>
                  <a:lnTo>
                    <a:pt x="391" y="3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" name="Freeform 499">
              <a:extLst>
                <a:ext uri="{FF2B5EF4-FFF2-40B4-BE49-F238E27FC236}">
                  <a16:creationId xmlns:a16="http://schemas.microsoft.com/office/drawing/2014/main" id="{94410126-F367-46A7-BC45-C311D5D49A79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6025" y="1598613"/>
              <a:ext cx="133350" cy="33338"/>
            </a:xfrm>
            <a:custGeom>
              <a:avLst/>
              <a:gdLst>
                <a:gd name="T0" fmla="*/ 0 w 421"/>
                <a:gd name="T1" fmla="*/ 44 h 104"/>
                <a:gd name="T2" fmla="*/ 2 w 421"/>
                <a:gd name="T3" fmla="*/ 52 h 104"/>
                <a:gd name="T4" fmla="*/ 5 w 421"/>
                <a:gd name="T5" fmla="*/ 56 h 104"/>
                <a:gd name="T6" fmla="*/ 6 w 421"/>
                <a:gd name="T7" fmla="*/ 59 h 104"/>
                <a:gd name="T8" fmla="*/ 11 w 421"/>
                <a:gd name="T9" fmla="*/ 65 h 104"/>
                <a:gd name="T10" fmla="*/ 13 w 421"/>
                <a:gd name="T11" fmla="*/ 65 h 104"/>
                <a:gd name="T12" fmla="*/ 31 w 421"/>
                <a:gd name="T13" fmla="*/ 76 h 104"/>
                <a:gd name="T14" fmla="*/ 32 w 421"/>
                <a:gd name="T15" fmla="*/ 77 h 104"/>
                <a:gd name="T16" fmla="*/ 41 w 421"/>
                <a:gd name="T17" fmla="*/ 80 h 104"/>
                <a:gd name="T18" fmla="*/ 45 w 421"/>
                <a:gd name="T19" fmla="*/ 81 h 104"/>
                <a:gd name="T20" fmla="*/ 53 w 421"/>
                <a:gd name="T21" fmla="*/ 84 h 104"/>
                <a:gd name="T22" fmla="*/ 61 w 421"/>
                <a:gd name="T23" fmla="*/ 86 h 104"/>
                <a:gd name="T24" fmla="*/ 66 w 421"/>
                <a:gd name="T25" fmla="*/ 87 h 104"/>
                <a:gd name="T26" fmla="*/ 98 w 421"/>
                <a:gd name="T27" fmla="*/ 95 h 104"/>
                <a:gd name="T28" fmla="*/ 133 w 421"/>
                <a:gd name="T29" fmla="*/ 99 h 104"/>
                <a:gd name="T30" fmla="*/ 197 w 421"/>
                <a:gd name="T31" fmla="*/ 104 h 104"/>
                <a:gd name="T32" fmla="*/ 211 w 421"/>
                <a:gd name="T33" fmla="*/ 104 h 104"/>
                <a:gd name="T34" fmla="*/ 225 w 421"/>
                <a:gd name="T35" fmla="*/ 104 h 104"/>
                <a:gd name="T36" fmla="*/ 289 w 421"/>
                <a:gd name="T37" fmla="*/ 99 h 104"/>
                <a:gd name="T38" fmla="*/ 322 w 421"/>
                <a:gd name="T39" fmla="*/ 95 h 104"/>
                <a:gd name="T40" fmla="*/ 356 w 421"/>
                <a:gd name="T41" fmla="*/ 87 h 104"/>
                <a:gd name="T42" fmla="*/ 360 w 421"/>
                <a:gd name="T43" fmla="*/ 86 h 104"/>
                <a:gd name="T44" fmla="*/ 368 w 421"/>
                <a:gd name="T45" fmla="*/ 84 h 104"/>
                <a:gd name="T46" fmla="*/ 376 w 421"/>
                <a:gd name="T47" fmla="*/ 81 h 104"/>
                <a:gd name="T48" fmla="*/ 379 w 421"/>
                <a:gd name="T49" fmla="*/ 80 h 104"/>
                <a:gd name="T50" fmla="*/ 390 w 421"/>
                <a:gd name="T51" fmla="*/ 77 h 104"/>
                <a:gd name="T52" fmla="*/ 391 w 421"/>
                <a:gd name="T53" fmla="*/ 76 h 104"/>
                <a:gd name="T54" fmla="*/ 409 w 421"/>
                <a:gd name="T55" fmla="*/ 65 h 104"/>
                <a:gd name="T56" fmla="*/ 409 w 421"/>
                <a:gd name="T57" fmla="*/ 65 h 104"/>
                <a:gd name="T58" fmla="*/ 416 w 421"/>
                <a:gd name="T59" fmla="*/ 59 h 104"/>
                <a:gd name="T60" fmla="*/ 417 w 421"/>
                <a:gd name="T61" fmla="*/ 56 h 104"/>
                <a:gd name="T62" fmla="*/ 420 w 421"/>
                <a:gd name="T63" fmla="*/ 52 h 104"/>
                <a:gd name="T64" fmla="*/ 421 w 421"/>
                <a:gd name="T65" fmla="*/ 44 h 104"/>
                <a:gd name="T66" fmla="*/ 410 w 421"/>
                <a:gd name="T67" fmla="*/ 4 h 104"/>
                <a:gd name="T68" fmla="*/ 386 w 421"/>
                <a:gd name="T69" fmla="*/ 10 h 104"/>
                <a:gd name="T70" fmla="*/ 344 w 421"/>
                <a:gd name="T71" fmla="*/ 19 h 104"/>
                <a:gd name="T72" fmla="*/ 284 w 421"/>
                <a:gd name="T73" fmla="*/ 25 h 104"/>
                <a:gd name="T74" fmla="*/ 231 w 421"/>
                <a:gd name="T75" fmla="*/ 28 h 104"/>
                <a:gd name="T76" fmla="*/ 191 w 421"/>
                <a:gd name="T77" fmla="*/ 28 h 104"/>
                <a:gd name="T78" fmla="*/ 138 w 421"/>
                <a:gd name="T79" fmla="*/ 25 h 104"/>
                <a:gd name="T80" fmla="*/ 78 w 421"/>
                <a:gd name="T81" fmla="*/ 19 h 104"/>
                <a:gd name="T82" fmla="*/ 35 w 421"/>
                <a:gd name="T83" fmla="*/ 10 h 104"/>
                <a:gd name="T84" fmla="*/ 10 w 421"/>
                <a:gd name="T85" fmla="*/ 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21" h="104">
                  <a:moveTo>
                    <a:pt x="0" y="0"/>
                  </a:moveTo>
                  <a:lnTo>
                    <a:pt x="0" y="44"/>
                  </a:lnTo>
                  <a:lnTo>
                    <a:pt x="1" y="48"/>
                  </a:lnTo>
                  <a:lnTo>
                    <a:pt x="2" y="52"/>
                  </a:lnTo>
                  <a:lnTo>
                    <a:pt x="3" y="54"/>
                  </a:lnTo>
                  <a:lnTo>
                    <a:pt x="5" y="56"/>
                  </a:lnTo>
                  <a:lnTo>
                    <a:pt x="5" y="57"/>
                  </a:lnTo>
                  <a:lnTo>
                    <a:pt x="6" y="59"/>
                  </a:lnTo>
                  <a:lnTo>
                    <a:pt x="8" y="62"/>
                  </a:lnTo>
                  <a:lnTo>
                    <a:pt x="11" y="65"/>
                  </a:lnTo>
                  <a:lnTo>
                    <a:pt x="11" y="65"/>
                  </a:lnTo>
                  <a:lnTo>
                    <a:pt x="13" y="65"/>
                  </a:lnTo>
                  <a:lnTo>
                    <a:pt x="20" y="70"/>
                  </a:lnTo>
                  <a:lnTo>
                    <a:pt x="31" y="76"/>
                  </a:lnTo>
                  <a:lnTo>
                    <a:pt x="31" y="76"/>
                  </a:lnTo>
                  <a:lnTo>
                    <a:pt x="32" y="77"/>
                  </a:lnTo>
                  <a:lnTo>
                    <a:pt x="36" y="79"/>
                  </a:lnTo>
                  <a:lnTo>
                    <a:pt x="41" y="80"/>
                  </a:lnTo>
                  <a:lnTo>
                    <a:pt x="44" y="81"/>
                  </a:lnTo>
                  <a:lnTo>
                    <a:pt x="45" y="81"/>
                  </a:lnTo>
                  <a:lnTo>
                    <a:pt x="49" y="83"/>
                  </a:lnTo>
                  <a:lnTo>
                    <a:pt x="53" y="84"/>
                  </a:lnTo>
                  <a:lnTo>
                    <a:pt x="58" y="85"/>
                  </a:lnTo>
                  <a:lnTo>
                    <a:pt x="61" y="86"/>
                  </a:lnTo>
                  <a:lnTo>
                    <a:pt x="64" y="87"/>
                  </a:lnTo>
                  <a:lnTo>
                    <a:pt x="66" y="87"/>
                  </a:lnTo>
                  <a:lnTo>
                    <a:pt x="82" y="92"/>
                  </a:lnTo>
                  <a:lnTo>
                    <a:pt x="98" y="95"/>
                  </a:lnTo>
                  <a:lnTo>
                    <a:pt x="115" y="97"/>
                  </a:lnTo>
                  <a:lnTo>
                    <a:pt x="133" y="99"/>
                  </a:lnTo>
                  <a:lnTo>
                    <a:pt x="166" y="102"/>
                  </a:lnTo>
                  <a:lnTo>
                    <a:pt x="197" y="104"/>
                  </a:lnTo>
                  <a:lnTo>
                    <a:pt x="203" y="104"/>
                  </a:lnTo>
                  <a:lnTo>
                    <a:pt x="211" y="104"/>
                  </a:lnTo>
                  <a:lnTo>
                    <a:pt x="217" y="104"/>
                  </a:lnTo>
                  <a:lnTo>
                    <a:pt x="225" y="104"/>
                  </a:lnTo>
                  <a:lnTo>
                    <a:pt x="255" y="102"/>
                  </a:lnTo>
                  <a:lnTo>
                    <a:pt x="289" y="99"/>
                  </a:lnTo>
                  <a:lnTo>
                    <a:pt x="306" y="97"/>
                  </a:lnTo>
                  <a:lnTo>
                    <a:pt x="322" y="95"/>
                  </a:lnTo>
                  <a:lnTo>
                    <a:pt x="340" y="92"/>
                  </a:lnTo>
                  <a:lnTo>
                    <a:pt x="356" y="87"/>
                  </a:lnTo>
                  <a:lnTo>
                    <a:pt x="358" y="87"/>
                  </a:lnTo>
                  <a:lnTo>
                    <a:pt x="360" y="86"/>
                  </a:lnTo>
                  <a:lnTo>
                    <a:pt x="364" y="85"/>
                  </a:lnTo>
                  <a:lnTo>
                    <a:pt x="368" y="84"/>
                  </a:lnTo>
                  <a:lnTo>
                    <a:pt x="372" y="83"/>
                  </a:lnTo>
                  <a:lnTo>
                    <a:pt x="376" y="81"/>
                  </a:lnTo>
                  <a:lnTo>
                    <a:pt x="378" y="81"/>
                  </a:lnTo>
                  <a:lnTo>
                    <a:pt x="379" y="80"/>
                  </a:lnTo>
                  <a:lnTo>
                    <a:pt x="385" y="79"/>
                  </a:lnTo>
                  <a:lnTo>
                    <a:pt x="390" y="77"/>
                  </a:lnTo>
                  <a:lnTo>
                    <a:pt x="390" y="76"/>
                  </a:lnTo>
                  <a:lnTo>
                    <a:pt x="391" y="76"/>
                  </a:lnTo>
                  <a:lnTo>
                    <a:pt x="401" y="70"/>
                  </a:lnTo>
                  <a:lnTo>
                    <a:pt x="409" y="65"/>
                  </a:lnTo>
                  <a:lnTo>
                    <a:pt x="409" y="65"/>
                  </a:lnTo>
                  <a:lnTo>
                    <a:pt x="409" y="65"/>
                  </a:lnTo>
                  <a:lnTo>
                    <a:pt x="413" y="62"/>
                  </a:lnTo>
                  <a:lnTo>
                    <a:pt x="416" y="59"/>
                  </a:lnTo>
                  <a:lnTo>
                    <a:pt x="417" y="57"/>
                  </a:lnTo>
                  <a:lnTo>
                    <a:pt x="417" y="56"/>
                  </a:lnTo>
                  <a:lnTo>
                    <a:pt x="419" y="54"/>
                  </a:lnTo>
                  <a:lnTo>
                    <a:pt x="420" y="52"/>
                  </a:lnTo>
                  <a:lnTo>
                    <a:pt x="421" y="48"/>
                  </a:lnTo>
                  <a:lnTo>
                    <a:pt x="421" y="44"/>
                  </a:lnTo>
                  <a:lnTo>
                    <a:pt x="421" y="0"/>
                  </a:lnTo>
                  <a:lnTo>
                    <a:pt x="410" y="4"/>
                  </a:lnTo>
                  <a:lnTo>
                    <a:pt x="399" y="7"/>
                  </a:lnTo>
                  <a:lnTo>
                    <a:pt x="386" y="10"/>
                  </a:lnTo>
                  <a:lnTo>
                    <a:pt x="373" y="13"/>
                  </a:lnTo>
                  <a:lnTo>
                    <a:pt x="344" y="19"/>
                  </a:lnTo>
                  <a:lnTo>
                    <a:pt x="314" y="23"/>
                  </a:lnTo>
                  <a:lnTo>
                    <a:pt x="284" y="25"/>
                  </a:lnTo>
                  <a:lnTo>
                    <a:pt x="256" y="27"/>
                  </a:lnTo>
                  <a:lnTo>
                    <a:pt x="231" y="28"/>
                  </a:lnTo>
                  <a:lnTo>
                    <a:pt x="211" y="28"/>
                  </a:lnTo>
                  <a:lnTo>
                    <a:pt x="191" y="28"/>
                  </a:lnTo>
                  <a:lnTo>
                    <a:pt x="166" y="27"/>
                  </a:lnTo>
                  <a:lnTo>
                    <a:pt x="138" y="25"/>
                  </a:lnTo>
                  <a:lnTo>
                    <a:pt x="108" y="23"/>
                  </a:lnTo>
                  <a:lnTo>
                    <a:pt x="78" y="19"/>
                  </a:lnTo>
                  <a:lnTo>
                    <a:pt x="49" y="13"/>
                  </a:lnTo>
                  <a:lnTo>
                    <a:pt x="35" y="10"/>
                  </a:lnTo>
                  <a:lnTo>
                    <a:pt x="22" y="7"/>
                  </a:lnTo>
                  <a:lnTo>
                    <a:pt x="10" y="4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" name="Freeform 500">
              <a:extLst>
                <a:ext uri="{FF2B5EF4-FFF2-40B4-BE49-F238E27FC236}">
                  <a16:creationId xmlns:a16="http://schemas.microsoft.com/office/drawing/2014/main" id="{A2C97ACB-97A3-414B-A771-882A7E3B78AE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6025" y="1474788"/>
              <a:ext cx="133350" cy="28575"/>
            </a:xfrm>
            <a:custGeom>
              <a:avLst/>
              <a:gdLst>
                <a:gd name="T0" fmla="*/ 420 w 420"/>
                <a:gd name="T1" fmla="*/ 58 h 90"/>
                <a:gd name="T2" fmla="*/ 419 w 420"/>
                <a:gd name="T3" fmla="*/ 55 h 90"/>
                <a:gd name="T4" fmla="*/ 418 w 420"/>
                <a:gd name="T5" fmla="*/ 50 h 90"/>
                <a:gd name="T6" fmla="*/ 416 w 420"/>
                <a:gd name="T7" fmla="*/ 47 h 90"/>
                <a:gd name="T8" fmla="*/ 413 w 420"/>
                <a:gd name="T9" fmla="*/ 44 h 90"/>
                <a:gd name="T10" fmla="*/ 406 w 420"/>
                <a:gd name="T11" fmla="*/ 37 h 90"/>
                <a:gd name="T12" fmla="*/ 397 w 420"/>
                <a:gd name="T13" fmla="*/ 32 h 90"/>
                <a:gd name="T14" fmla="*/ 386 w 420"/>
                <a:gd name="T15" fmla="*/ 27 h 90"/>
                <a:gd name="T16" fmla="*/ 374 w 420"/>
                <a:gd name="T17" fmla="*/ 22 h 90"/>
                <a:gd name="T18" fmla="*/ 360 w 420"/>
                <a:gd name="T19" fmla="*/ 18 h 90"/>
                <a:gd name="T20" fmla="*/ 345 w 420"/>
                <a:gd name="T21" fmla="*/ 14 h 90"/>
                <a:gd name="T22" fmla="*/ 313 w 420"/>
                <a:gd name="T23" fmla="*/ 9 h 90"/>
                <a:gd name="T24" fmla="*/ 277 w 420"/>
                <a:gd name="T25" fmla="*/ 3 h 90"/>
                <a:gd name="T26" fmla="*/ 243 w 420"/>
                <a:gd name="T27" fmla="*/ 1 h 90"/>
                <a:gd name="T28" fmla="*/ 210 w 420"/>
                <a:gd name="T29" fmla="*/ 0 h 90"/>
                <a:gd name="T30" fmla="*/ 172 w 420"/>
                <a:gd name="T31" fmla="*/ 1 h 90"/>
                <a:gd name="T32" fmla="*/ 133 w 420"/>
                <a:gd name="T33" fmla="*/ 4 h 90"/>
                <a:gd name="T34" fmla="*/ 113 w 420"/>
                <a:gd name="T35" fmla="*/ 7 h 90"/>
                <a:gd name="T36" fmla="*/ 94 w 420"/>
                <a:gd name="T37" fmla="*/ 11 h 90"/>
                <a:gd name="T38" fmla="*/ 76 w 420"/>
                <a:gd name="T39" fmla="*/ 14 h 90"/>
                <a:gd name="T40" fmla="*/ 59 w 420"/>
                <a:gd name="T41" fmla="*/ 18 h 90"/>
                <a:gd name="T42" fmla="*/ 59 w 420"/>
                <a:gd name="T43" fmla="*/ 18 h 90"/>
                <a:gd name="T44" fmla="*/ 55 w 420"/>
                <a:gd name="T45" fmla="*/ 19 h 90"/>
                <a:gd name="T46" fmla="*/ 52 w 420"/>
                <a:gd name="T47" fmla="*/ 20 h 90"/>
                <a:gd name="T48" fmla="*/ 48 w 420"/>
                <a:gd name="T49" fmla="*/ 21 h 90"/>
                <a:gd name="T50" fmla="*/ 44 w 420"/>
                <a:gd name="T51" fmla="*/ 22 h 90"/>
                <a:gd name="T52" fmla="*/ 43 w 420"/>
                <a:gd name="T53" fmla="*/ 24 h 90"/>
                <a:gd name="T54" fmla="*/ 40 w 420"/>
                <a:gd name="T55" fmla="*/ 24 h 90"/>
                <a:gd name="T56" fmla="*/ 35 w 420"/>
                <a:gd name="T57" fmla="*/ 26 h 90"/>
                <a:gd name="T58" fmla="*/ 31 w 420"/>
                <a:gd name="T59" fmla="*/ 28 h 90"/>
                <a:gd name="T60" fmla="*/ 30 w 420"/>
                <a:gd name="T61" fmla="*/ 28 h 90"/>
                <a:gd name="T62" fmla="*/ 30 w 420"/>
                <a:gd name="T63" fmla="*/ 28 h 90"/>
                <a:gd name="T64" fmla="*/ 19 w 420"/>
                <a:gd name="T65" fmla="*/ 33 h 90"/>
                <a:gd name="T66" fmla="*/ 12 w 420"/>
                <a:gd name="T67" fmla="*/ 40 h 90"/>
                <a:gd name="T68" fmla="*/ 10 w 420"/>
                <a:gd name="T69" fmla="*/ 40 h 90"/>
                <a:gd name="T70" fmla="*/ 10 w 420"/>
                <a:gd name="T71" fmla="*/ 40 h 90"/>
                <a:gd name="T72" fmla="*/ 7 w 420"/>
                <a:gd name="T73" fmla="*/ 43 h 90"/>
                <a:gd name="T74" fmla="*/ 5 w 420"/>
                <a:gd name="T75" fmla="*/ 46 h 90"/>
                <a:gd name="T76" fmla="*/ 4 w 420"/>
                <a:gd name="T77" fmla="*/ 47 h 90"/>
                <a:gd name="T78" fmla="*/ 4 w 420"/>
                <a:gd name="T79" fmla="*/ 48 h 90"/>
                <a:gd name="T80" fmla="*/ 2 w 420"/>
                <a:gd name="T81" fmla="*/ 50 h 90"/>
                <a:gd name="T82" fmla="*/ 1 w 420"/>
                <a:gd name="T83" fmla="*/ 52 h 90"/>
                <a:gd name="T84" fmla="*/ 0 w 420"/>
                <a:gd name="T85" fmla="*/ 56 h 90"/>
                <a:gd name="T86" fmla="*/ 0 w 420"/>
                <a:gd name="T87" fmla="*/ 58 h 90"/>
                <a:gd name="T88" fmla="*/ 8 w 420"/>
                <a:gd name="T89" fmla="*/ 63 h 90"/>
                <a:gd name="T90" fmla="*/ 22 w 420"/>
                <a:gd name="T91" fmla="*/ 68 h 90"/>
                <a:gd name="T92" fmla="*/ 43 w 420"/>
                <a:gd name="T93" fmla="*/ 74 h 90"/>
                <a:gd name="T94" fmla="*/ 67 w 420"/>
                <a:gd name="T95" fmla="*/ 78 h 90"/>
                <a:gd name="T96" fmla="*/ 96 w 420"/>
                <a:gd name="T97" fmla="*/ 84 h 90"/>
                <a:gd name="T98" fmla="*/ 131 w 420"/>
                <a:gd name="T99" fmla="*/ 87 h 90"/>
                <a:gd name="T100" fmla="*/ 168 w 420"/>
                <a:gd name="T101" fmla="*/ 90 h 90"/>
                <a:gd name="T102" fmla="*/ 210 w 420"/>
                <a:gd name="T103" fmla="*/ 90 h 90"/>
                <a:gd name="T104" fmla="*/ 251 w 420"/>
                <a:gd name="T105" fmla="*/ 90 h 90"/>
                <a:gd name="T106" fmla="*/ 289 w 420"/>
                <a:gd name="T107" fmla="*/ 87 h 90"/>
                <a:gd name="T108" fmla="*/ 323 w 420"/>
                <a:gd name="T109" fmla="*/ 84 h 90"/>
                <a:gd name="T110" fmla="*/ 353 w 420"/>
                <a:gd name="T111" fmla="*/ 78 h 90"/>
                <a:gd name="T112" fmla="*/ 377 w 420"/>
                <a:gd name="T113" fmla="*/ 74 h 90"/>
                <a:gd name="T114" fmla="*/ 398 w 420"/>
                <a:gd name="T115" fmla="*/ 68 h 90"/>
                <a:gd name="T116" fmla="*/ 412 w 420"/>
                <a:gd name="T117" fmla="*/ 62 h 90"/>
                <a:gd name="T118" fmla="*/ 420 w 420"/>
                <a:gd name="T119" fmla="*/ 58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20" h="90">
                  <a:moveTo>
                    <a:pt x="420" y="58"/>
                  </a:moveTo>
                  <a:lnTo>
                    <a:pt x="419" y="55"/>
                  </a:lnTo>
                  <a:lnTo>
                    <a:pt x="418" y="50"/>
                  </a:lnTo>
                  <a:lnTo>
                    <a:pt x="416" y="47"/>
                  </a:lnTo>
                  <a:lnTo>
                    <a:pt x="413" y="44"/>
                  </a:lnTo>
                  <a:lnTo>
                    <a:pt x="406" y="37"/>
                  </a:lnTo>
                  <a:lnTo>
                    <a:pt x="397" y="32"/>
                  </a:lnTo>
                  <a:lnTo>
                    <a:pt x="386" y="27"/>
                  </a:lnTo>
                  <a:lnTo>
                    <a:pt x="374" y="22"/>
                  </a:lnTo>
                  <a:lnTo>
                    <a:pt x="360" y="18"/>
                  </a:lnTo>
                  <a:lnTo>
                    <a:pt x="345" y="14"/>
                  </a:lnTo>
                  <a:lnTo>
                    <a:pt x="313" y="9"/>
                  </a:lnTo>
                  <a:lnTo>
                    <a:pt x="277" y="3"/>
                  </a:lnTo>
                  <a:lnTo>
                    <a:pt x="243" y="1"/>
                  </a:lnTo>
                  <a:lnTo>
                    <a:pt x="210" y="0"/>
                  </a:lnTo>
                  <a:lnTo>
                    <a:pt x="172" y="1"/>
                  </a:lnTo>
                  <a:lnTo>
                    <a:pt x="133" y="4"/>
                  </a:lnTo>
                  <a:lnTo>
                    <a:pt x="113" y="7"/>
                  </a:lnTo>
                  <a:lnTo>
                    <a:pt x="94" y="11"/>
                  </a:lnTo>
                  <a:lnTo>
                    <a:pt x="76" y="14"/>
                  </a:lnTo>
                  <a:lnTo>
                    <a:pt x="59" y="18"/>
                  </a:lnTo>
                  <a:lnTo>
                    <a:pt x="59" y="18"/>
                  </a:lnTo>
                  <a:lnTo>
                    <a:pt x="55" y="19"/>
                  </a:lnTo>
                  <a:lnTo>
                    <a:pt x="52" y="20"/>
                  </a:lnTo>
                  <a:lnTo>
                    <a:pt x="48" y="21"/>
                  </a:lnTo>
                  <a:lnTo>
                    <a:pt x="44" y="22"/>
                  </a:lnTo>
                  <a:lnTo>
                    <a:pt x="43" y="24"/>
                  </a:lnTo>
                  <a:lnTo>
                    <a:pt x="40" y="24"/>
                  </a:lnTo>
                  <a:lnTo>
                    <a:pt x="35" y="26"/>
                  </a:lnTo>
                  <a:lnTo>
                    <a:pt x="31" y="28"/>
                  </a:lnTo>
                  <a:lnTo>
                    <a:pt x="30" y="28"/>
                  </a:lnTo>
                  <a:lnTo>
                    <a:pt x="30" y="28"/>
                  </a:lnTo>
                  <a:lnTo>
                    <a:pt x="19" y="33"/>
                  </a:lnTo>
                  <a:lnTo>
                    <a:pt x="12" y="40"/>
                  </a:lnTo>
                  <a:lnTo>
                    <a:pt x="10" y="40"/>
                  </a:lnTo>
                  <a:lnTo>
                    <a:pt x="10" y="40"/>
                  </a:lnTo>
                  <a:lnTo>
                    <a:pt x="7" y="43"/>
                  </a:lnTo>
                  <a:lnTo>
                    <a:pt x="5" y="46"/>
                  </a:lnTo>
                  <a:lnTo>
                    <a:pt x="4" y="47"/>
                  </a:lnTo>
                  <a:lnTo>
                    <a:pt x="4" y="48"/>
                  </a:lnTo>
                  <a:lnTo>
                    <a:pt x="2" y="50"/>
                  </a:lnTo>
                  <a:lnTo>
                    <a:pt x="1" y="52"/>
                  </a:lnTo>
                  <a:lnTo>
                    <a:pt x="0" y="56"/>
                  </a:lnTo>
                  <a:lnTo>
                    <a:pt x="0" y="58"/>
                  </a:lnTo>
                  <a:lnTo>
                    <a:pt x="8" y="63"/>
                  </a:lnTo>
                  <a:lnTo>
                    <a:pt x="22" y="68"/>
                  </a:lnTo>
                  <a:lnTo>
                    <a:pt x="43" y="74"/>
                  </a:lnTo>
                  <a:lnTo>
                    <a:pt x="67" y="78"/>
                  </a:lnTo>
                  <a:lnTo>
                    <a:pt x="96" y="84"/>
                  </a:lnTo>
                  <a:lnTo>
                    <a:pt x="131" y="87"/>
                  </a:lnTo>
                  <a:lnTo>
                    <a:pt x="168" y="90"/>
                  </a:lnTo>
                  <a:lnTo>
                    <a:pt x="210" y="90"/>
                  </a:lnTo>
                  <a:lnTo>
                    <a:pt x="251" y="90"/>
                  </a:lnTo>
                  <a:lnTo>
                    <a:pt x="289" y="87"/>
                  </a:lnTo>
                  <a:lnTo>
                    <a:pt x="323" y="84"/>
                  </a:lnTo>
                  <a:lnTo>
                    <a:pt x="353" y="78"/>
                  </a:lnTo>
                  <a:lnTo>
                    <a:pt x="377" y="74"/>
                  </a:lnTo>
                  <a:lnTo>
                    <a:pt x="398" y="68"/>
                  </a:lnTo>
                  <a:lnTo>
                    <a:pt x="412" y="62"/>
                  </a:lnTo>
                  <a:lnTo>
                    <a:pt x="420" y="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0" name="Freeform 501">
              <a:extLst>
                <a:ext uri="{FF2B5EF4-FFF2-40B4-BE49-F238E27FC236}">
                  <a16:creationId xmlns:a16="http://schemas.microsoft.com/office/drawing/2014/main" id="{F842D659-7E61-4A35-AD18-361288C73F82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6025" y="1503363"/>
              <a:ext cx="133350" cy="23813"/>
            </a:xfrm>
            <a:custGeom>
              <a:avLst/>
              <a:gdLst>
                <a:gd name="T0" fmla="*/ 0 w 421"/>
                <a:gd name="T1" fmla="*/ 0 h 75"/>
                <a:gd name="T2" fmla="*/ 0 w 421"/>
                <a:gd name="T3" fmla="*/ 42 h 75"/>
                <a:gd name="T4" fmla="*/ 8 w 421"/>
                <a:gd name="T5" fmla="*/ 46 h 75"/>
                <a:gd name="T6" fmla="*/ 22 w 421"/>
                <a:gd name="T7" fmla="*/ 52 h 75"/>
                <a:gd name="T8" fmla="*/ 43 w 421"/>
                <a:gd name="T9" fmla="*/ 57 h 75"/>
                <a:gd name="T10" fmla="*/ 67 w 421"/>
                <a:gd name="T11" fmla="*/ 62 h 75"/>
                <a:gd name="T12" fmla="*/ 97 w 421"/>
                <a:gd name="T13" fmla="*/ 68 h 75"/>
                <a:gd name="T14" fmla="*/ 130 w 421"/>
                <a:gd name="T15" fmla="*/ 71 h 75"/>
                <a:gd name="T16" fmla="*/ 169 w 421"/>
                <a:gd name="T17" fmla="*/ 74 h 75"/>
                <a:gd name="T18" fmla="*/ 211 w 421"/>
                <a:gd name="T19" fmla="*/ 75 h 75"/>
                <a:gd name="T20" fmla="*/ 253 w 421"/>
                <a:gd name="T21" fmla="*/ 74 h 75"/>
                <a:gd name="T22" fmla="*/ 290 w 421"/>
                <a:gd name="T23" fmla="*/ 71 h 75"/>
                <a:gd name="T24" fmla="*/ 325 w 421"/>
                <a:gd name="T25" fmla="*/ 68 h 75"/>
                <a:gd name="T26" fmla="*/ 355 w 421"/>
                <a:gd name="T27" fmla="*/ 62 h 75"/>
                <a:gd name="T28" fmla="*/ 379 w 421"/>
                <a:gd name="T29" fmla="*/ 57 h 75"/>
                <a:gd name="T30" fmla="*/ 399 w 421"/>
                <a:gd name="T31" fmla="*/ 52 h 75"/>
                <a:gd name="T32" fmla="*/ 414 w 421"/>
                <a:gd name="T33" fmla="*/ 46 h 75"/>
                <a:gd name="T34" fmla="*/ 421 w 421"/>
                <a:gd name="T35" fmla="*/ 42 h 75"/>
                <a:gd name="T36" fmla="*/ 421 w 421"/>
                <a:gd name="T37" fmla="*/ 0 h 75"/>
                <a:gd name="T38" fmla="*/ 410 w 421"/>
                <a:gd name="T39" fmla="*/ 4 h 75"/>
                <a:gd name="T40" fmla="*/ 399 w 421"/>
                <a:gd name="T41" fmla="*/ 8 h 75"/>
                <a:gd name="T42" fmla="*/ 386 w 421"/>
                <a:gd name="T43" fmla="*/ 12 h 75"/>
                <a:gd name="T44" fmla="*/ 373 w 421"/>
                <a:gd name="T45" fmla="*/ 14 h 75"/>
                <a:gd name="T46" fmla="*/ 344 w 421"/>
                <a:gd name="T47" fmla="*/ 19 h 75"/>
                <a:gd name="T48" fmla="*/ 314 w 421"/>
                <a:gd name="T49" fmla="*/ 24 h 75"/>
                <a:gd name="T50" fmla="*/ 284 w 421"/>
                <a:gd name="T51" fmla="*/ 27 h 75"/>
                <a:gd name="T52" fmla="*/ 256 w 421"/>
                <a:gd name="T53" fmla="*/ 28 h 75"/>
                <a:gd name="T54" fmla="*/ 231 w 421"/>
                <a:gd name="T55" fmla="*/ 29 h 75"/>
                <a:gd name="T56" fmla="*/ 211 w 421"/>
                <a:gd name="T57" fmla="*/ 30 h 75"/>
                <a:gd name="T58" fmla="*/ 191 w 421"/>
                <a:gd name="T59" fmla="*/ 29 h 75"/>
                <a:gd name="T60" fmla="*/ 166 w 421"/>
                <a:gd name="T61" fmla="*/ 28 h 75"/>
                <a:gd name="T62" fmla="*/ 138 w 421"/>
                <a:gd name="T63" fmla="*/ 27 h 75"/>
                <a:gd name="T64" fmla="*/ 108 w 421"/>
                <a:gd name="T65" fmla="*/ 24 h 75"/>
                <a:gd name="T66" fmla="*/ 78 w 421"/>
                <a:gd name="T67" fmla="*/ 19 h 75"/>
                <a:gd name="T68" fmla="*/ 49 w 421"/>
                <a:gd name="T69" fmla="*/ 15 h 75"/>
                <a:gd name="T70" fmla="*/ 35 w 421"/>
                <a:gd name="T71" fmla="*/ 12 h 75"/>
                <a:gd name="T72" fmla="*/ 22 w 421"/>
                <a:gd name="T73" fmla="*/ 8 h 75"/>
                <a:gd name="T74" fmla="*/ 10 w 421"/>
                <a:gd name="T75" fmla="*/ 4 h 75"/>
                <a:gd name="T76" fmla="*/ 0 w 421"/>
                <a:gd name="T77" fmla="*/ 0 h 75"/>
                <a:gd name="T78" fmla="*/ 0 w 421"/>
                <a:gd name="T79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421" h="75">
                  <a:moveTo>
                    <a:pt x="0" y="0"/>
                  </a:moveTo>
                  <a:lnTo>
                    <a:pt x="0" y="42"/>
                  </a:lnTo>
                  <a:lnTo>
                    <a:pt x="8" y="46"/>
                  </a:lnTo>
                  <a:lnTo>
                    <a:pt x="22" y="52"/>
                  </a:lnTo>
                  <a:lnTo>
                    <a:pt x="43" y="57"/>
                  </a:lnTo>
                  <a:lnTo>
                    <a:pt x="67" y="62"/>
                  </a:lnTo>
                  <a:lnTo>
                    <a:pt x="97" y="68"/>
                  </a:lnTo>
                  <a:lnTo>
                    <a:pt x="130" y="71"/>
                  </a:lnTo>
                  <a:lnTo>
                    <a:pt x="169" y="74"/>
                  </a:lnTo>
                  <a:lnTo>
                    <a:pt x="211" y="75"/>
                  </a:lnTo>
                  <a:lnTo>
                    <a:pt x="253" y="74"/>
                  </a:lnTo>
                  <a:lnTo>
                    <a:pt x="290" y="71"/>
                  </a:lnTo>
                  <a:lnTo>
                    <a:pt x="325" y="68"/>
                  </a:lnTo>
                  <a:lnTo>
                    <a:pt x="355" y="62"/>
                  </a:lnTo>
                  <a:lnTo>
                    <a:pt x="379" y="57"/>
                  </a:lnTo>
                  <a:lnTo>
                    <a:pt x="399" y="52"/>
                  </a:lnTo>
                  <a:lnTo>
                    <a:pt x="414" y="46"/>
                  </a:lnTo>
                  <a:lnTo>
                    <a:pt x="421" y="42"/>
                  </a:lnTo>
                  <a:lnTo>
                    <a:pt x="421" y="0"/>
                  </a:lnTo>
                  <a:lnTo>
                    <a:pt x="410" y="4"/>
                  </a:lnTo>
                  <a:lnTo>
                    <a:pt x="399" y="8"/>
                  </a:lnTo>
                  <a:lnTo>
                    <a:pt x="386" y="12"/>
                  </a:lnTo>
                  <a:lnTo>
                    <a:pt x="373" y="14"/>
                  </a:lnTo>
                  <a:lnTo>
                    <a:pt x="344" y="19"/>
                  </a:lnTo>
                  <a:lnTo>
                    <a:pt x="314" y="24"/>
                  </a:lnTo>
                  <a:lnTo>
                    <a:pt x="284" y="27"/>
                  </a:lnTo>
                  <a:lnTo>
                    <a:pt x="256" y="28"/>
                  </a:lnTo>
                  <a:lnTo>
                    <a:pt x="231" y="29"/>
                  </a:lnTo>
                  <a:lnTo>
                    <a:pt x="211" y="30"/>
                  </a:lnTo>
                  <a:lnTo>
                    <a:pt x="191" y="29"/>
                  </a:lnTo>
                  <a:lnTo>
                    <a:pt x="166" y="28"/>
                  </a:lnTo>
                  <a:lnTo>
                    <a:pt x="138" y="27"/>
                  </a:lnTo>
                  <a:lnTo>
                    <a:pt x="108" y="24"/>
                  </a:lnTo>
                  <a:lnTo>
                    <a:pt x="78" y="19"/>
                  </a:lnTo>
                  <a:lnTo>
                    <a:pt x="49" y="15"/>
                  </a:lnTo>
                  <a:lnTo>
                    <a:pt x="35" y="12"/>
                  </a:lnTo>
                  <a:lnTo>
                    <a:pt x="22" y="8"/>
                  </a:lnTo>
                  <a:lnTo>
                    <a:pt x="10" y="4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" name="Freeform 502">
              <a:extLst>
                <a:ext uri="{FF2B5EF4-FFF2-40B4-BE49-F238E27FC236}">
                  <a16:creationId xmlns:a16="http://schemas.microsoft.com/office/drawing/2014/main" id="{CBEC1CFB-92D9-4210-9441-8E92E0CAF602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6025" y="1574800"/>
              <a:ext cx="133350" cy="23813"/>
            </a:xfrm>
            <a:custGeom>
              <a:avLst/>
              <a:gdLst>
                <a:gd name="T0" fmla="*/ 0 w 421"/>
                <a:gd name="T1" fmla="*/ 0 h 75"/>
                <a:gd name="T2" fmla="*/ 0 w 421"/>
                <a:gd name="T3" fmla="*/ 42 h 75"/>
                <a:gd name="T4" fmla="*/ 8 w 421"/>
                <a:gd name="T5" fmla="*/ 48 h 75"/>
                <a:gd name="T6" fmla="*/ 22 w 421"/>
                <a:gd name="T7" fmla="*/ 53 h 75"/>
                <a:gd name="T8" fmla="*/ 43 w 421"/>
                <a:gd name="T9" fmla="*/ 58 h 75"/>
                <a:gd name="T10" fmla="*/ 67 w 421"/>
                <a:gd name="T11" fmla="*/ 64 h 75"/>
                <a:gd name="T12" fmla="*/ 97 w 421"/>
                <a:gd name="T13" fmla="*/ 68 h 75"/>
                <a:gd name="T14" fmla="*/ 130 w 421"/>
                <a:gd name="T15" fmla="*/ 72 h 75"/>
                <a:gd name="T16" fmla="*/ 169 w 421"/>
                <a:gd name="T17" fmla="*/ 74 h 75"/>
                <a:gd name="T18" fmla="*/ 211 w 421"/>
                <a:gd name="T19" fmla="*/ 75 h 75"/>
                <a:gd name="T20" fmla="*/ 253 w 421"/>
                <a:gd name="T21" fmla="*/ 74 h 75"/>
                <a:gd name="T22" fmla="*/ 290 w 421"/>
                <a:gd name="T23" fmla="*/ 72 h 75"/>
                <a:gd name="T24" fmla="*/ 325 w 421"/>
                <a:gd name="T25" fmla="*/ 68 h 75"/>
                <a:gd name="T26" fmla="*/ 355 w 421"/>
                <a:gd name="T27" fmla="*/ 64 h 75"/>
                <a:gd name="T28" fmla="*/ 379 w 421"/>
                <a:gd name="T29" fmla="*/ 58 h 75"/>
                <a:gd name="T30" fmla="*/ 399 w 421"/>
                <a:gd name="T31" fmla="*/ 53 h 75"/>
                <a:gd name="T32" fmla="*/ 414 w 421"/>
                <a:gd name="T33" fmla="*/ 48 h 75"/>
                <a:gd name="T34" fmla="*/ 421 w 421"/>
                <a:gd name="T35" fmla="*/ 42 h 75"/>
                <a:gd name="T36" fmla="*/ 421 w 421"/>
                <a:gd name="T37" fmla="*/ 0 h 75"/>
                <a:gd name="T38" fmla="*/ 410 w 421"/>
                <a:gd name="T39" fmla="*/ 5 h 75"/>
                <a:gd name="T40" fmla="*/ 399 w 421"/>
                <a:gd name="T41" fmla="*/ 9 h 75"/>
                <a:gd name="T42" fmla="*/ 386 w 421"/>
                <a:gd name="T43" fmla="*/ 12 h 75"/>
                <a:gd name="T44" fmla="*/ 373 w 421"/>
                <a:gd name="T45" fmla="*/ 15 h 75"/>
                <a:gd name="T46" fmla="*/ 344 w 421"/>
                <a:gd name="T47" fmla="*/ 21 h 75"/>
                <a:gd name="T48" fmla="*/ 314 w 421"/>
                <a:gd name="T49" fmla="*/ 24 h 75"/>
                <a:gd name="T50" fmla="*/ 284 w 421"/>
                <a:gd name="T51" fmla="*/ 27 h 75"/>
                <a:gd name="T52" fmla="*/ 256 w 421"/>
                <a:gd name="T53" fmla="*/ 29 h 75"/>
                <a:gd name="T54" fmla="*/ 231 w 421"/>
                <a:gd name="T55" fmla="*/ 30 h 75"/>
                <a:gd name="T56" fmla="*/ 211 w 421"/>
                <a:gd name="T57" fmla="*/ 30 h 75"/>
                <a:gd name="T58" fmla="*/ 191 w 421"/>
                <a:gd name="T59" fmla="*/ 30 h 75"/>
                <a:gd name="T60" fmla="*/ 166 w 421"/>
                <a:gd name="T61" fmla="*/ 29 h 75"/>
                <a:gd name="T62" fmla="*/ 138 w 421"/>
                <a:gd name="T63" fmla="*/ 27 h 75"/>
                <a:gd name="T64" fmla="*/ 108 w 421"/>
                <a:gd name="T65" fmla="*/ 24 h 75"/>
                <a:gd name="T66" fmla="*/ 78 w 421"/>
                <a:gd name="T67" fmla="*/ 21 h 75"/>
                <a:gd name="T68" fmla="*/ 49 w 421"/>
                <a:gd name="T69" fmla="*/ 15 h 75"/>
                <a:gd name="T70" fmla="*/ 35 w 421"/>
                <a:gd name="T71" fmla="*/ 12 h 75"/>
                <a:gd name="T72" fmla="*/ 22 w 421"/>
                <a:gd name="T73" fmla="*/ 9 h 75"/>
                <a:gd name="T74" fmla="*/ 10 w 421"/>
                <a:gd name="T75" fmla="*/ 5 h 75"/>
                <a:gd name="T76" fmla="*/ 0 w 421"/>
                <a:gd name="T77" fmla="*/ 1 h 75"/>
                <a:gd name="T78" fmla="*/ 0 w 421"/>
                <a:gd name="T79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421" h="75">
                  <a:moveTo>
                    <a:pt x="0" y="0"/>
                  </a:moveTo>
                  <a:lnTo>
                    <a:pt x="0" y="42"/>
                  </a:lnTo>
                  <a:lnTo>
                    <a:pt x="8" y="48"/>
                  </a:lnTo>
                  <a:lnTo>
                    <a:pt x="22" y="53"/>
                  </a:lnTo>
                  <a:lnTo>
                    <a:pt x="43" y="58"/>
                  </a:lnTo>
                  <a:lnTo>
                    <a:pt x="67" y="64"/>
                  </a:lnTo>
                  <a:lnTo>
                    <a:pt x="97" y="68"/>
                  </a:lnTo>
                  <a:lnTo>
                    <a:pt x="130" y="72"/>
                  </a:lnTo>
                  <a:lnTo>
                    <a:pt x="169" y="74"/>
                  </a:lnTo>
                  <a:lnTo>
                    <a:pt x="211" y="75"/>
                  </a:lnTo>
                  <a:lnTo>
                    <a:pt x="253" y="74"/>
                  </a:lnTo>
                  <a:lnTo>
                    <a:pt x="290" y="72"/>
                  </a:lnTo>
                  <a:lnTo>
                    <a:pt x="325" y="68"/>
                  </a:lnTo>
                  <a:lnTo>
                    <a:pt x="355" y="64"/>
                  </a:lnTo>
                  <a:lnTo>
                    <a:pt x="379" y="58"/>
                  </a:lnTo>
                  <a:lnTo>
                    <a:pt x="399" y="53"/>
                  </a:lnTo>
                  <a:lnTo>
                    <a:pt x="414" y="48"/>
                  </a:lnTo>
                  <a:lnTo>
                    <a:pt x="421" y="42"/>
                  </a:lnTo>
                  <a:lnTo>
                    <a:pt x="421" y="0"/>
                  </a:lnTo>
                  <a:lnTo>
                    <a:pt x="410" y="5"/>
                  </a:lnTo>
                  <a:lnTo>
                    <a:pt x="399" y="9"/>
                  </a:lnTo>
                  <a:lnTo>
                    <a:pt x="386" y="12"/>
                  </a:lnTo>
                  <a:lnTo>
                    <a:pt x="373" y="15"/>
                  </a:lnTo>
                  <a:lnTo>
                    <a:pt x="344" y="21"/>
                  </a:lnTo>
                  <a:lnTo>
                    <a:pt x="314" y="24"/>
                  </a:lnTo>
                  <a:lnTo>
                    <a:pt x="284" y="27"/>
                  </a:lnTo>
                  <a:lnTo>
                    <a:pt x="256" y="29"/>
                  </a:lnTo>
                  <a:lnTo>
                    <a:pt x="231" y="30"/>
                  </a:lnTo>
                  <a:lnTo>
                    <a:pt x="211" y="30"/>
                  </a:lnTo>
                  <a:lnTo>
                    <a:pt x="191" y="30"/>
                  </a:lnTo>
                  <a:lnTo>
                    <a:pt x="166" y="29"/>
                  </a:lnTo>
                  <a:lnTo>
                    <a:pt x="138" y="27"/>
                  </a:lnTo>
                  <a:lnTo>
                    <a:pt x="108" y="24"/>
                  </a:lnTo>
                  <a:lnTo>
                    <a:pt x="78" y="21"/>
                  </a:lnTo>
                  <a:lnTo>
                    <a:pt x="49" y="15"/>
                  </a:lnTo>
                  <a:lnTo>
                    <a:pt x="35" y="12"/>
                  </a:lnTo>
                  <a:lnTo>
                    <a:pt x="22" y="9"/>
                  </a:lnTo>
                  <a:lnTo>
                    <a:pt x="10" y="5"/>
                  </a:ln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3" name="Freeform 503">
              <a:extLst>
                <a:ext uri="{FF2B5EF4-FFF2-40B4-BE49-F238E27FC236}">
                  <a16:creationId xmlns:a16="http://schemas.microsoft.com/office/drawing/2014/main" id="{68F28E05-ACA4-468E-BDBB-A79F95BCCA40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6025" y="1550988"/>
              <a:ext cx="133350" cy="23813"/>
            </a:xfrm>
            <a:custGeom>
              <a:avLst/>
              <a:gdLst>
                <a:gd name="T0" fmla="*/ 0 w 421"/>
                <a:gd name="T1" fmla="*/ 0 h 75"/>
                <a:gd name="T2" fmla="*/ 0 w 421"/>
                <a:gd name="T3" fmla="*/ 42 h 75"/>
                <a:gd name="T4" fmla="*/ 8 w 421"/>
                <a:gd name="T5" fmla="*/ 47 h 75"/>
                <a:gd name="T6" fmla="*/ 22 w 421"/>
                <a:gd name="T7" fmla="*/ 53 h 75"/>
                <a:gd name="T8" fmla="*/ 43 w 421"/>
                <a:gd name="T9" fmla="*/ 58 h 75"/>
                <a:gd name="T10" fmla="*/ 67 w 421"/>
                <a:gd name="T11" fmla="*/ 64 h 75"/>
                <a:gd name="T12" fmla="*/ 97 w 421"/>
                <a:gd name="T13" fmla="*/ 68 h 75"/>
                <a:gd name="T14" fmla="*/ 130 w 421"/>
                <a:gd name="T15" fmla="*/ 72 h 75"/>
                <a:gd name="T16" fmla="*/ 169 w 421"/>
                <a:gd name="T17" fmla="*/ 74 h 75"/>
                <a:gd name="T18" fmla="*/ 211 w 421"/>
                <a:gd name="T19" fmla="*/ 75 h 75"/>
                <a:gd name="T20" fmla="*/ 253 w 421"/>
                <a:gd name="T21" fmla="*/ 74 h 75"/>
                <a:gd name="T22" fmla="*/ 290 w 421"/>
                <a:gd name="T23" fmla="*/ 72 h 75"/>
                <a:gd name="T24" fmla="*/ 325 w 421"/>
                <a:gd name="T25" fmla="*/ 68 h 75"/>
                <a:gd name="T26" fmla="*/ 355 w 421"/>
                <a:gd name="T27" fmla="*/ 64 h 75"/>
                <a:gd name="T28" fmla="*/ 379 w 421"/>
                <a:gd name="T29" fmla="*/ 58 h 75"/>
                <a:gd name="T30" fmla="*/ 399 w 421"/>
                <a:gd name="T31" fmla="*/ 53 h 75"/>
                <a:gd name="T32" fmla="*/ 414 w 421"/>
                <a:gd name="T33" fmla="*/ 47 h 75"/>
                <a:gd name="T34" fmla="*/ 421 w 421"/>
                <a:gd name="T35" fmla="*/ 42 h 75"/>
                <a:gd name="T36" fmla="*/ 421 w 421"/>
                <a:gd name="T37" fmla="*/ 0 h 75"/>
                <a:gd name="T38" fmla="*/ 410 w 421"/>
                <a:gd name="T39" fmla="*/ 5 h 75"/>
                <a:gd name="T40" fmla="*/ 399 w 421"/>
                <a:gd name="T41" fmla="*/ 9 h 75"/>
                <a:gd name="T42" fmla="*/ 386 w 421"/>
                <a:gd name="T43" fmla="*/ 12 h 75"/>
                <a:gd name="T44" fmla="*/ 373 w 421"/>
                <a:gd name="T45" fmla="*/ 15 h 75"/>
                <a:gd name="T46" fmla="*/ 344 w 421"/>
                <a:gd name="T47" fmla="*/ 21 h 75"/>
                <a:gd name="T48" fmla="*/ 314 w 421"/>
                <a:gd name="T49" fmla="*/ 24 h 75"/>
                <a:gd name="T50" fmla="*/ 284 w 421"/>
                <a:gd name="T51" fmla="*/ 27 h 75"/>
                <a:gd name="T52" fmla="*/ 256 w 421"/>
                <a:gd name="T53" fmla="*/ 29 h 75"/>
                <a:gd name="T54" fmla="*/ 231 w 421"/>
                <a:gd name="T55" fmla="*/ 30 h 75"/>
                <a:gd name="T56" fmla="*/ 211 w 421"/>
                <a:gd name="T57" fmla="*/ 30 h 75"/>
                <a:gd name="T58" fmla="*/ 191 w 421"/>
                <a:gd name="T59" fmla="*/ 30 h 75"/>
                <a:gd name="T60" fmla="*/ 166 w 421"/>
                <a:gd name="T61" fmla="*/ 29 h 75"/>
                <a:gd name="T62" fmla="*/ 138 w 421"/>
                <a:gd name="T63" fmla="*/ 27 h 75"/>
                <a:gd name="T64" fmla="*/ 108 w 421"/>
                <a:gd name="T65" fmla="*/ 24 h 75"/>
                <a:gd name="T66" fmla="*/ 78 w 421"/>
                <a:gd name="T67" fmla="*/ 21 h 75"/>
                <a:gd name="T68" fmla="*/ 49 w 421"/>
                <a:gd name="T69" fmla="*/ 15 h 75"/>
                <a:gd name="T70" fmla="*/ 35 w 421"/>
                <a:gd name="T71" fmla="*/ 12 h 75"/>
                <a:gd name="T72" fmla="*/ 22 w 421"/>
                <a:gd name="T73" fmla="*/ 9 h 75"/>
                <a:gd name="T74" fmla="*/ 10 w 421"/>
                <a:gd name="T75" fmla="*/ 5 h 75"/>
                <a:gd name="T76" fmla="*/ 0 w 421"/>
                <a:gd name="T77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1" h="75">
                  <a:moveTo>
                    <a:pt x="0" y="0"/>
                  </a:moveTo>
                  <a:lnTo>
                    <a:pt x="0" y="42"/>
                  </a:lnTo>
                  <a:lnTo>
                    <a:pt x="8" y="47"/>
                  </a:lnTo>
                  <a:lnTo>
                    <a:pt x="22" y="53"/>
                  </a:lnTo>
                  <a:lnTo>
                    <a:pt x="43" y="58"/>
                  </a:lnTo>
                  <a:lnTo>
                    <a:pt x="67" y="64"/>
                  </a:lnTo>
                  <a:lnTo>
                    <a:pt x="97" y="68"/>
                  </a:lnTo>
                  <a:lnTo>
                    <a:pt x="130" y="72"/>
                  </a:lnTo>
                  <a:lnTo>
                    <a:pt x="169" y="74"/>
                  </a:lnTo>
                  <a:lnTo>
                    <a:pt x="211" y="75"/>
                  </a:lnTo>
                  <a:lnTo>
                    <a:pt x="253" y="74"/>
                  </a:lnTo>
                  <a:lnTo>
                    <a:pt x="290" y="72"/>
                  </a:lnTo>
                  <a:lnTo>
                    <a:pt x="325" y="68"/>
                  </a:lnTo>
                  <a:lnTo>
                    <a:pt x="355" y="64"/>
                  </a:lnTo>
                  <a:lnTo>
                    <a:pt x="379" y="58"/>
                  </a:lnTo>
                  <a:lnTo>
                    <a:pt x="399" y="53"/>
                  </a:lnTo>
                  <a:lnTo>
                    <a:pt x="414" y="47"/>
                  </a:lnTo>
                  <a:lnTo>
                    <a:pt x="421" y="42"/>
                  </a:lnTo>
                  <a:lnTo>
                    <a:pt x="421" y="0"/>
                  </a:lnTo>
                  <a:lnTo>
                    <a:pt x="410" y="5"/>
                  </a:lnTo>
                  <a:lnTo>
                    <a:pt x="399" y="9"/>
                  </a:lnTo>
                  <a:lnTo>
                    <a:pt x="386" y="12"/>
                  </a:lnTo>
                  <a:lnTo>
                    <a:pt x="373" y="15"/>
                  </a:lnTo>
                  <a:lnTo>
                    <a:pt x="344" y="21"/>
                  </a:lnTo>
                  <a:lnTo>
                    <a:pt x="314" y="24"/>
                  </a:lnTo>
                  <a:lnTo>
                    <a:pt x="284" y="27"/>
                  </a:lnTo>
                  <a:lnTo>
                    <a:pt x="256" y="29"/>
                  </a:lnTo>
                  <a:lnTo>
                    <a:pt x="231" y="30"/>
                  </a:lnTo>
                  <a:lnTo>
                    <a:pt x="211" y="30"/>
                  </a:lnTo>
                  <a:lnTo>
                    <a:pt x="191" y="30"/>
                  </a:lnTo>
                  <a:lnTo>
                    <a:pt x="166" y="29"/>
                  </a:lnTo>
                  <a:lnTo>
                    <a:pt x="138" y="27"/>
                  </a:lnTo>
                  <a:lnTo>
                    <a:pt x="108" y="24"/>
                  </a:lnTo>
                  <a:lnTo>
                    <a:pt x="78" y="21"/>
                  </a:lnTo>
                  <a:lnTo>
                    <a:pt x="49" y="15"/>
                  </a:lnTo>
                  <a:lnTo>
                    <a:pt x="35" y="12"/>
                  </a:lnTo>
                  <a:lnTo>
                    <a:pt x="22" y="9"/>
                  </a:lnTo>
                  <a:lnTo>
                    <a:pt x="10" y="5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8" name="Freeform 504">
              <a:extLst>
                <a:ext uri="{FF2B5EF4-FFF2-40B4-BE49-F238E27FC236}">
                  <a16:creationId xmlns:a16="http://schemas.microsoft.com/office/drawing/2014/main" id="{4C38AC20-690A-4BE6-98EA-20CEA7F573F0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6025" y="1527175"/>
              <a:ext cx="133350" cy="23813"/>
            </a:xfrm>
            <a:custGeom>
              <a:avLst/>
              <a:gdLst>
                <a:gd name="T0" fmla="*/ 0 w 421"/>
                <a:gd name="T1" fmla="*/ 0 h 75"/>
                <a:gd name="T2" fmla="*/ 0 w 421"/>
                <a:gd name="T3" fmla="*/ 42 h 75"/>
                <a:gd name="T4" fmla="*/ 8 w 421"/>
                <a:gd name="T5" fmla="*/ 46 h 75"/>
                <a:gd name="T6" fmla="*/ 22 w 421"/>
                <a:gd name="T7" fmla="*/ 52 h 75"/>
                <a:gd name="T8" fmla="*/ 43 w 421"/>
                <a:gd name="T9" fmla="*/ 58 h 75"/>
                <a:gd name="T10" fmla="*/ 67 w 421"/>
                <a:gd name="T11" fmla="*/ 63 h 75"/>
                <a:gd name="T12" fmla="*/ 97 w 421"/>
                <a:gd name="T13" fmla="*/ 68 h 75"/>
                <a:gd name="T14" fmla="*/ 130 w 421"/>
                <a:gd name="T15" fmla="*/ 72 h 75"/>
                <a:gd name="T16" fmla="*/ 169 w 421"/>
                <a:gd name="T17" fmla="*/ 74 h 75"/>
                <a:gd name="T18" fmla="*/ 211 w 421"/>
                <a:gd name="T19" fmla="*/ 75 h 75"/>
                <a:gd name="T20" fmla="*/ 253 w 421"/>
                <a:gd name="T21" fmla="*/ 74 h 75"/>
                <a:gd name="T22" fmla="*/ 290 w 421"/>
                <a:gd name="T23" fmla="*/ 72 h 75"/>
                <a:gd name="T24" fmla="*/ 325 w 421"/>
                <a:gd name="T25" fmla="*/ 68 h 75"/>
                <a:gd name="T26" fmla="*/ 355 w 421"/>
                <a:gd name="T27" fmla="*/ 63 h 75"/>
                <a:gd name="T28" fmla="*/ 379 w 421"/>
                <a:gd name="T29" fmla="*/ 58 h 75"/>
                <a:gd name="T30" fmla="*/ 399 w 421"/>
                <a:gd name="T31" fmla="*/ 52 h 75"/>
                <a:gd name="T32" fmla="*/ 414 w 421"/>
                <a:gd name="T33" fmla="*/ 47 h 75"/>
                <a:gd name="T34" fmla="*/ 421 w 421"/>
                <a:gd name="T35" fmla="*/ 42 h 75"/>
                <a:gd name="T36" fmla="*/ 421 w 421"/>
                <a:gd name="T37" fmla="*/ 0 h 75"/>
                <a:gd name="T38" fmla="*/ 410 w 421"/>
                <a:gd name="T39" fmla="*/ 4 h 75"/>
                <a:gd name="T40" fmla="*/ 399 w 421"/>
                <a:gd name="T41" fmla="*/ 9 h 75"/>
                <a:gd name="T42" fmla="*/ 386 w 421"/>
                <a:gd name="T43" fmla="*/ 12 h 75"/>
                <a:gd name="T44" fmla="*/ 373 w 421"/>
                <a:gd name="T45" fmla="*/ 15 h 75"/>
                <a:gd name="T46" fmla="*/ 344 w 421"/>
                <a:gd name="T47" fmla="*/ 19 h 75"/>
                <a:gd name="T48" fmla="*/ 314 w 421"/>
                <a:gd name="T49" fmla="*/ 24 h 75"/>
                <a:gd name="T50" fmla="*/ 284 w 421"/>
                <a:gd name="T51" fmla="*/ 27 h 75"/>
                <a:gd name="T52" fmla="*/ 256 w 421"/>
                <a:gd name="T53" fmla="*/ 29 h 75"/>
                <a:gd name="T54" fmla="*/ 231 w 421"/>
                <a:gd name="T55" fmla="*/ 29 h 75"/>
                <a:gd name="T56" fmla="*/ 211 w 421"/>
                <a:gd name="T57" fmla="*/ 30 h 75"/>
                <a:gd name="T58" fmla="*/ 191 w 421"/>
                <a:gd name="T59" fmla="*/ 29 h 75"/>
                <a:gd name="T60" fmla="*/ 166 w 421"/>
                <a:gd name="T61" fmla="*/ 28 h 75"/>
                <a:gd name="T62" fmla="*/ 138 w 421"/>
                <a:gd name="T63" fmla="*/ 27 h 75"/>
                <a:gd name="T64" fmla="*/ 108 w 421"/>
                <a:gd name="T65" fmla="*/ 24 h 75"/>
                <a:gd name="T66" fmla="*/ 78 w 421"/>
                <a:gd name="T67" fmla="*/ 19 h 75"/>
                <a:gd name="T68" fmla="*/ 49 w 421"/>
                <a:gd name="T69" fmla="*/ 15 h 75"/>
                <a:gd name="T70" fmla="*/ 35 w 421"/>
                <a:gd name="T71" fmla="*/ 12 h 75"/>
                <a:gd name="T72" fmla="*/ 22 w 421"/>
                <a:gd name="T73" fmla="*/ 9 h 75"/>
                <a:gd name="T74" fmla="*/ 10 w 421"/>
                <a:gd name="T75" fmla="*/ 4 h 75"/>
                <a:gd name="T76" fmla="*/ 0 w 421"/>
                <a:gd name="T77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1" h="75">
                  <a:moveTo>
                    <a:pt x="0" y="0"/>
                  </a:moveTo>
                  <a:lnTo>
                    <a:pt x="0" y="42"/>
                  </a:lnTo>
                  <a:lnTo>
                    <a:pt x="8" y="46"/>
                  </a:lnTo>
                  <a:lnTo>
                    <a:pt x="22" y="52"/>
                  </a:lnTo>
                  <a:lnTo>
                    <a:pt x="43" y="58"/>
                  </a:lnTo>
                  <a:lnTo>
                    <a:pt x="67" y="63"/>
                  </a:lnTo>
                  <a:lnTo>
                    <a:pt x="97" y="68"/>
                  </a:lnTo>
                  <a:lnTo>
                    <a:pt x="130" y="72"/>
                  </a:lnTo>
                  <a:lnTo>
                    <a:pt x="169" y="74"/>
                  </a:lnTo>
                  <a:lnTo>
                    <a:pt x="211" y="75"/>
                  </a:lnTo>
                  <a:lnTo>
                    <a:pt x="253" y="74"/>
                  </a:lnTo>
                  <a:lnTo>
                    <a:pt x="290" y="72"/>
                  </a:lnTo>
                  <a:lnTo>
                    <a:pt x="325" y="68"/>
                  </a:lnTo>
                  <a:lnTo>
                    <a:pt x="355" y="63"/>
                  </a:lnTo>
                  <a:lnTo>
                    <a:pt x="379" y="58"/>
                  </a:lnTo>
                  <a:lnTo>
                    <a:pt x="399" y="52"/>
                  </a:lnTo>
                  <a:lnTo>
                    <a:pt x="414" y="47"/>
                  </a:lnTo>
                  <a:lnTo>
                    <a:pt x="421" y="42"/>
                  </a:lnTo>
                  <a:lnTo>
                    <a:pt x="421" y="0"/>
                  </a:lnTo>
                  <a:lnTo>
                    <a:pt x="410" y="4"/>
                  </a:lnTo>
                  <a:lnTo>
                    <a:pt x="399" y="9"/>
                  </a:lnTo>
                  <a:lnTo>
                    <a:pt x="386" y="12"/>
                  </a:lnTo>
                  <a:lnTo>
                    <a:pt x="373" y="15"/>
                  </a:lnTo>
                  <a:lnTo>
                    <a:pt x="344" y="19"/>
                  </a:lnTo>
                  <a:lnTo>
                    <a:pt x="314" y="24"/>
                  </a:lnTo>
                  <a:lnTo>
                    <a:pt x="284" y="27"/>
                  </a:lnTo>
                  <a:lnTo>
                    <a:pt x="256" y="29"/>
                  </a:lnTo>
                  <a:lnTo>
                    <a:pt x="231" y="29"/>
                  </a:lnTo>
                  <a:lnTo>
                    <a:pt x="211" y="30"/>
                  </a:lnTo>
                  <a:lnTo>
                    <a:pt x="191" y="29"/>
                  </a:lnTo>
                  <a:lnTo>
                    <a:pt x="166" y="28"/>
                  </a:lnTo>
                  <a:lnTo>
                    <a:pt x="138" y="27"/>
                  </a:lnTo>
                  <a:lnTo>
                    <a:pt x="108" y="24"/>
                  </a:lnTo>
                  <a:lnTo>
                    <a:pt x="78" y="19"/>
                  </a:lnTo>
                  <a:lnTo>
                    <a:pt x="49" y="15"/>
                  </a:lnTo>
                  <a:lnTo>
                    <a:pt x="35" y="12"/>
                  </a:lnTo>
                  <a:lnTo>
                    <a:pt x="22" y="9"/>
                  </a:lnTo>
                  <a:lnTo>
                    <a:pt x="10" y="4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61" name="Group 160">
            <a:extLst>
              <a:ext uri="{FF2B5EF4-FFF2-40B4-BE49-F238E27FC236}">
                <a16:creationId xmlns:a16="http://schemas.microsoft.com/office/drawing/2014/main" id="{00185671-FEA1-4FC4-A1DE-33B790A41E68}"/>
              </a:ext>
            </a:extLst>
          </p:cNvPr>
          <p:cNvGrpSpPr/>
          <p:nvPr/>
        </p:nvGrpSpPr>
        <p:grpSpPr>
          <a:xfrm>
            <a:off x="7142901" y="1575593"/>
            <a:ext cx="285750" cy="287338"/>
            <a:chOff x="3746500" y="1344613"/>
            <a:chExt cx="285750" cy="287338"/>
          </a:xfrm>
          <a:solidFill>
            <a:schemeClr val="bg1"/>
          </a:solidFill>
        </p:grpSpPr>
        <p:sp>
          <p:nvSpPr>
            <p:cNvPr id="162" name="Freeform 497">
              <a:extLst>
                <a:ext uri="{FF2B5EF4-FFF2-40B4-BE49-F238E27FC236}">
                  <a16:creationId xmlns:a16="http://schemas.microsoft.com/office/drawing/2014/main" id="{4CF035A6-A429-424B-9898-1FEF138B5E5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6500" y="1344613"/>
              <a:ext cx="285750" cy="182563"/>
            </a:xfrm>
            <a:custGeom>
              <a:avLst/>
              <a:gdLst>
                <a:gd name="T0" fmla="*/ 0 w 903"/>
                <a:gd name="T1" fmla="*/ 0 h 573"/>
                <a:gd name="T2" fmla="*/ 0 w 903"/>
                <a:gd name="T3" fmla="*/ 467 h 573"/>
                <a:gd name="T4" fmla="*/ 1 w 903"/>
                <a:gd name="T5" fmla="*/ 459 h 573"/>
                <a:gd name="T6" fmla="*/ 2 w 903"/>
                <a:gd name="T7" fmla="*/ 453 h 573"/>
                <a:gd name="T8" fmla="*/ 5 w 903"/>
                <a:gd name="T9" fmla="*/ 446 h 573"/>
                <a:gd name="T10" fmla="*/ 8 w 903"/>
                <a:gd name="T11" fmla="*/ 440 h 573"/>
                <a:gd name="T12" fmla="*/ 12 w 903"/>
                <a:gd name="T13" fmla="*/ 434 h 573"/>
                <a:gd name="T14" fmla="*/ 18 w 903"/>
                <a:gd name="T15" fmla="*/ 428 h 573"/>
                <a:gd name="T16" fmla="*/ 23 w 903"/>
                <a:gd name="T17" fmla="*/ 423 h 573"/>
                <a:gd name="T18" fmla="*/ 30 w 903"/>
                <a:gd name="T19" fmla="*/ 419 h 573"/>
                <a:gd name="T20" fmla="*/ 30 w 903"/>
                <a:gd name="T21" fmla="*/ 30 h 573"/>
                <a:gd name="T22" fmla="*/ 873 w 903"/>
                <a:gd name="T23" fmla="*/ 30 h 573"/>
                <a:gd name="T24" fmla="*/ 873 w 903"/>
                <a:gd name="T25" fmla="*/ 543 h 573"/>
                <a:gd name="T26" fmla="*/ 481 w 903"/>
                <a:gd name="T27" fmla="*/ 543 h 573"/>
                <a:gd name="T28" fmla="*/ 481 w 903"/>
                <a:gd name="T29" fmla="*/ 573 h 573"/>
                <a:gd name="T30" fmla="*/ 903 w 903"/>
                <a:gd name="T31" fmla="*/ 573 h 573"/>
                <a:gd name="T32" fmla="*/ 903 w 903"/>
                <a:gd name="T33" fmla="*/ 0 h 573"/>
                <a:gd name="T34" fmla="*/ 0 w 903"/>
                <a:gd name="T35" fmla="*/ 0 h 5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03" h="573">
                  <a:moveTo>
                    <a:pt x="0" y="0"/>
                  </a:moveTo>
                  <a:lnTo>
                    <a:pt x="0" y="467"/>
                  </a:lnTo>
                  <a:lnTo>
                    <a:pt x="1" y="459"/>
                  </a:lnTo>
                  <a:lnTo>
                    <a:pt x="2" y="453"/>
                  </a:lnTo>
                  <a:lnTo>
                    <a:pt x="5" y="446"/>
                  </a:lnTo>
                  <a:lnTo>
                    <a:pt x="8" y="440"/>
                  </a:lnTo>
                  <a:lnTo>
                    <a:pt x="12" y="434"/>
                  </a:lnTo>
                  <a:lnTo>
                    <a:pt x="18" y="428"/>
                  </a:lnTo>
                  <a:lnTo>
                    <a:pt x="23" y="423"/>
                  </a:lnTo>
                  <a:lnTo>
                    <a:pt x="30" y="419"/>
                  </a:lnTo>
                  <a:lnTo>
                    <a:pt x="30" y="30"/>
                  </a:lnTo>
                  <a:lnTo>
                    <a:pt x="873" y="30"/>
                  </a:lnTo>
                  <a:lnTo>
                    <a:pt x="873" y="543"/>
                  </a:lnTo>
                  <a:lnTo>
                    <a:pt x="481" y="543"/>
                  </a:lnTo>
                  <a:lnTo>
                    <a:pt x="481" y="573"/>
                  </a:lnTo>
                  <a:lnTo>
                    <a:pt x="903" y="573"/>
                  </a:lnTo>
                  <a:lnTo>
                    <a:pt x="90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498">
              <a:extLst>
                <a:ext uri="{FF2B5EF4-FFF2-40B4-BE49-F238E27FC236}">
                  <a16:creationId xmlns:a16="http://schemas.microsoft.com/office/drawing/2014/main" id="{73112014-C6B0-4B37-8E75-2870566426C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75075" y="1373188"/>
              <a:ext cx="228600" cy="125413"/>
            </a:xfrm>
            <a:custGeom>
              <a:avLst/>
              <a:gdLst>
                <a:gd name="T0" fmla="*/ 330 w 723"/>
                <a:gd name="T1" fmla="*/ 283 h 392"/>
                <a:gd name="T2" fmla="*/ 295 w 723"/>
                <a:gd name="T3" fmla="*/ 263 h 392"/>
                <a:gd name="T4" fmla="*/ 269 w 723"/>
                <a:gd name="T5" fmla="*/ 232 h 392"/>
                <a:gd name="T6" fmla="*/ 257 w 723"/>
                <a:gd name="T7" fmla="*/ 192 h 392"/>
                <a:gd name="T8" fmla="*/ 260 w 723"/>
                <a:gd name="T9" fmla="*/ 151 h 392"/>
                <a:gd name="T10" fmla="*/ 281 w 723"/>
                <a:gd name="T11" fmla="*/ 115 h 392"/>
                <a:gd name="T12" fmla="*/ 312 w 723"/>
                <a:gd name="T13" fmla="*/ 90 h 392"/>
                <a:gd name="T14" fmla="*/ 350 w 723"/>
                <a:gd name="T15" fmla="*/ 77 h 392"/>
                <a:gd name="T16" fmla="*/ 392 w 723"/>
                <a:gd name="T17" fmla="*/ 81 h 392"/>
                <a:gd name="T18" fmla="*/ 429 w 723"/>
                <a:gd name="T19" fmla="*/ 100 h 392"/>
                <a:gd name="T20" fmla="*/ 454 w 723"/>
                <a:gd name="T21" fmla="*/ 131 h 392"/>
                <a:gd name="T22" fmla="*/ 466 w 723"/>
                <a:gd name="T23" fmla="*/ 171 h 392"/>
                <a:gd name="T24" fmla="*/ 462 w 723"/>
                <a:gd name="T25" fmla="*/ 213 h 392"/>
                <a:gd name="T26" fmla="*/ 443 w 723"/>
                <a:gd name="T27" fmla="*/ 248 h 392"/>
                <a:gd name="T28" fmla="*/ 412 w 723"/>
                <a:gd name="T29" fmla="*/ 274 h 392"/>
                <a:gd name="T30" fmla="*/ 372 w 723"/>
                <a:gd name="T31" fmla="*/ 287 h 392"/>
                <a:gd name="T32" fmla="*/ 96 w 723"/>
                <a:gd name="T33" fmla="*/ 151 h 392"/>
                <a:gd name="T34" fmla="*/ 68 w 723"/>
                <a:gd name="T35" fmla="*/ 131 h 392"/>
                <a:gd name="T36" fmla="*/ 61 w 723"/>
                <a:gd name="T37" fmla="*/ 97 h 392"/>
                <a:gd name="T38" fmla="*/ 80 w 723"/>
                <a:gd name="T39" fmla="*/ 69 h 392"/>
                <a:gd name="T40" fmla="*/ 114 w 723"/>
                <a:gd name="T41" fmla="*/ 63 h 392"/>
                <a:gd name="T42" fmla="*/ 143 w 723"/>
                <a:gd name="T43" fmla="*/ 81 h 392"/>
                <a:gd name="T44" fmla="*/ 150 w 723"/>
                <a:gd name="T45" fmla="*/ 115 h 392"/>
                <a:gd name="T46" fmla="*/ 131 w 723"/>
                <a:gd name="T47" fmla="*/ 144 h 392"/>
                <a:gd name="T48" fmla="*/ 106 w 723"/>
                <a:gd name="T49" fmla="*/ 152 h 392"/>
                <a:gd name="T50" fmla="*/ 642 w 723"/>
                <a:gd name="T51" fmla="*/ 249 h 392"/>
                <a:gd name="T52" fmla="*/ 661 w 723"/>
                <a:gd name="T53" fmla="*/ 278 h 392"/>
                <a:gd name="T54" fmla="*/ 655 w 723"/>
                <a:gd name="T55" fmla="*/ 313 h 392"/>
                <a:gd name="T56" fmla="*/ 626 w 723"/>
                <a:gd name="T57" fmla="*/ 331 h 392"/>
                <a:gd name="T58" fmla="*/ 592 w 723"/>
                <a:gd name="T59" fmla="*/ 324 h 392"/>
                <a:gd name="T60" fmla="*/ 573 w 723"/>
                <a:gd name="T61" fmla="*/ 297 h 392"/>
                <a:gd name="T62" fmla="*/ 580 w 723"/>
                <a:gd name="T63" fmla="*/ 262 h 392"/>
                <a:gd name="T64" fmla="*/ 608 w 723"/>
                <a:gd name="T65" fmla="*/ 243 h 392"/>
                <a:gd name="T66" fmla="*/ 669 w 723"/>
                <a:gd name="T67" fmla="*/ 392 h 392"/>
                <a:gd name="T68" fmla="*/ 691 w 723"/>
                <a:gd name="T69" fmla="*/ 386 h 392"/>
                <a:gd name="T70" fmla="*/ 709 w 723"/>
                <a:gd name="T71" fmla="*/ 371 h 392"/>
                <a:gd name="T72" fmla="*/ 720 w 723"/>
                <a:gd name="T73" fmla="*/ 350 h 392"/>
                <a:gd name="T74" fmla="*/ 723 w 723"/>
                <a:gd name="T75" fmla="*/ 62 h 392"/>
                <a:gd name="T76" fmla="*/ 718 w 723"/>
                <a:gd name="T77" fmla="*/ 38 h 392"/>
                <a:gd name="T78" fmla="*/ 705 w 723"/>
                <a:gd name="T79" fmla="*/ 19 h 392"/>
                <a:gd name="T80" fmla="*/ 686 w 723"/>
                <a:gd name="T81" fmla="*/ 6 h 392"/>
                <a:gd name="T82" fmla="*/ 663 w 723"/>
                <a:gd name="T83" fmla="*/ 2 h 392"/>
                <a:gd name="T84" fmla="*/ 43 w 723"/>
                <a:gd name="T85" fmla="*/ 4 h 392"/>
                <a:gd name="T86" fmla="*/ 22 w 723"/>
                <a:gd name="T87" fmla="*/ 14 h 392"/>
                <a:gd name="T88" fmla="*/ 7 w 723"/>
                <a:gd name="T89" fmla="*/ 33 h 392"/>
                <a:gd name="T90" fmla="*/ 1 w 723"/>
                <a:gd name="T91" fmla="*/ 55 h 392"/>
                <a:gd name="T92" fmla="*/ 46 w 723"/>
                <a:gd name="T93" fmla="*/ 294 h 392"/>
                <a:gd name="T94" fmla="*/ 151 w 723"/>
                <a:gd name="T95" fmla="*/ 287 h 392"/>
                <a:gd name="T96" fmla="*/ 244 w 723"/>
                <a:gd name="T97" fmla="*/ 293 h 392"/>
                <a:gd name="T98" fmla="*/ 326 w 723"/>
                <a:gd name="T99" fmla="*/ 312 h 392"/>
                <a:gd name="T100" fmla="*/ 373 w 723"/>
                <a:gd name="T101" fmla="*/ 337 h 392"/>
                <a:gd name="T102" fmla="*/ 389 w 723"/>
                <a:gd name="T103" fmla="*/ 362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723" h="392">
                  <a:moveTo>
                    <a:pt x="361" y="287"/>
                  </a:moveTo>
                  <a:lnTo>
                    <a:pt x="350" y="287"/>
                  </a:lnTo>
                  <a:lnTo>
                    <a:pt x="341" y="285"/>
                  </a:lnTo>
                  <a:lnTo>
                    <a:pt x="330" y="283"/>
                  </a:lnTo>
                  <a:lnTo>
                    <a:pt x="320" y="278"/>
                  </a:lnTo>
                  <a:lnTo>
                    <a:pt x="312" y="274"/>
                  </a:lnTo>
                  <a:lnTo>
                    <a:pt x="302" y="269"/>
                  </a:lnTo>
                  <a:lnTo>
                    <a:pt x="295" y="263"/>
                  </a:lnTo>
                  <a:lnTo>
                    <a:pt x="287" y="256"/>
                  </a:lnTo>
                  <a:lnTo>
                    <a:pt x="281" y="248"/>
                  </a:lnTo>
                  <a:lnTo>
                    <a:pt x="274" y="241"/>
                  </a:lnTo>
                  <a:lnTo>
                    <a:pt x="269" y="232"/>
                  </a:lnTo>
                  <a:lnTo>
                    <a:pt x="265" y="223"/>
                  </a:lnTo>
                  <a:lnTo>
                    <a:pt x="260" y="213"/>
                  </a:lnTo>
                  <a:lnTo>
                    <a:pt x="258" y="203"/>
                  </a:lnTo>
                  <a:lnTo>
                    <a:pt x="257" y="192"/>
                  </a:lnTo>
                  <a:lnTo>
                    <a:pt x="256" y="182"/>
                  </a:lnTo>
                  <a:lnTo>
                    <a:pt x="257" y="171"/>
                  </a:lnTo>
                  <a:lnTo>
                    <a:pt x="258" y="160"/>
                  </a:lnTo>
                  <a:lnTo>
                    <a:pt x="260" y="151"/>
                  </a:lnTo>
                  <a:lnTo>
                    <a:pt x="265" y="141"/>
                  </a:lnTo>
                  <a:lnTo>
                    <a:pt x="269" y="131"/>
                  </a:lnTo>
                  <a:lnTo>
                    <a:pt x="274" y="123"/>
                  </a:lnTo>
                  <a:lnTo>
                    <a:pt x="281" y="115"/>
                  </a:lnTo>
                  <a:lnTo>
                    <a:pt x="287" y="108"/>
                  </a:lnTo>
                  <a:lnTo>
                    <a:pt x="295" y="100"/>
                  </a:lnTo>
                  <a:lnTo>
                    <a:pt x="302" y="95"/>
                  </a:lnTo>
                  <a:lnTo>
                    <a:pt x="312" y="90"/>
                  </a:lnTo>
                  <a:lnTo>
                    <a:pt x="320" y="84"/>
                  </a:lnTo>
                  <a:lnTo>
                    <a:pt x="330" y="81"/>
                  </a:lnTo>
                  <a:lnTo>
                    <a:pt x="341" y="79"/>
                  </a:lnTo>
                  <a:lnTo>
                    <a:pt x="350" y="77"/>
                  </a:lnTo>
                  <a:lnTo>
                    <a:pt x="361" y="77"/>
                  </a:lnTo>
                  <a:lnTo>
                    <a:pt x="372" y="77"/>
                  </a:lnTo>
                  <a:lnTo>
                    <a:pt x="383" y="79"/>
                  </a:lnTo>
                  <a:lnTo>
                    <a:pt x="392" y="81"/>
                  </a:lnTo>
                  <a:lnTo>
                    <a:pt x="403" y="84"/>
                  </a:lnTo>
                  <a:lnTo>
                    <a:pt x="412" y="90"/>
                  </a:lnTo>
                  <a:lnTo>
                    <a:pt x="420" y="95"/>
                  </a:lnTo>
                  <a:lnTo>
                    <a:pt x="429" y="100"/>
                  </a:lnTo>
                  <a:lnTo>
                    <a:pt x="436" y="108"/>
                  </a:lnTo>
                  <a:lnTo>
                    <a:pt x="443" y="115"/>
                  </a:lnTo>
                  <a:lnTo>
                    <a:pt x="449" y="123"/>
                  </a:lnTo>
                  <a:lnTo>
                    <a:pt x="454" y="131"/>
                  </a:lnTo>
                  <a:lnTo>
                    <a:pt x="459" y="141"/>
                  </a:lnTo>
                  <a:lnTo>
                    <a:pt x="462" y="151"/>
                  </a:lnTo>
                  <a:lnTo>
                    <a:pt x="465" y="160"/>
                  </a:lnTo>
                  <a:lnTo>
                    <a:pt x="466" y="171"/>
                  </a:lnTo>
                  <a:lnTo>
                    <a:pt x="467" y="182"/>
                  </a:lnTo>
                  <a:lnTo>
                    <a:pt x="466" y="192"/>
                  </a:lnTo>
                  <a:lnTo>
                    <a:pt x="465" y="203"/>
                  </a:lnTo>
                  <a:lnTo>
                    <a:pt x="462" y="213"/>
                  </a:lnTo>
                  <a:lnTo>
                    <a:pt x="459" y="223"/>
                  </a:lnTo>
                  <a:lnTo>
                    <a:pt x="454" y="232"/>
                  </a:lnTo>
                  <a:lnTo>
                    <a:pt x="449" y="241"/>
                  </a:lnTo>
                  <a:lnTo>
                    <a:pt x="443" y="248"/>
                  </a:lnTo>
                  <a:lnTo>
                    <a:pt x="436" y="256"/>
                  </a:lnTo>
                  <a:lnTo>
                    <a:pt x="429" y="263"/>
                  </a:lnTo>
                  <a:lnTo>
                    <a:pt x="420" y="269"/>
                  </a:lnTo>
                  <a:lnTo>
                    <a:pt x="412" y="274"/>
                  </a:lnTo>
                  <a:lnTo>
                    <a:pt x="403" y="278"/>
                  </a:lnTo>
                  <a:lnTo>
                    <a:pt x="392" y="283"/>
                  </a:lnTo>
                  <a:lnTo>
                    <a:pt x="383" y="285"/>
                  </a:lnTo>
                  <a:lnTo>
                    <a:pt x="372" y="287"/>
                  </a:lnTo>
                  <a:lnTo>
                    <a:pt x="361" y="287"/>
                  </a:lnTo>
                  <a:lnTo>
                    <a:pt x="361" y="287"/>
                  </a:lnTo>
                  <a:close/>
                  <a:moveTo>
                    <a:pt x="106" y="152"/>
                  </a:moveTo>
                  <a:lnTo>
                    <a:pt x="96" y="151"/>
                  </a:lnTo>
                  <a:lnTo>
                    <a:pt x="88" y="149"/>
                  </a:lnTo>
                  <a:lnTo>
                    <a:pt x="80" y="144"/>
                  </a:lnTo>
                  <a:lnTo>
                    <a:pt x="74" y="139"/>
                  </a:lnTo>
                  <a:lnTo>
                    <a:pt x="68" y="131"/>
                  </a:lnTo>
                  <a:lnTo>
                    <a:pt x="64" y="124"/>
                  </a:lnTo>
                  <a:lnTo>
                    <a:pt x="61" y="115"/>
                  </a:lnTo>
                  <a:lnTo>
                    <a:pt x="61" y="107"/>
                  </a:lnTo>
                  <a:lnTo>
                    <a:pt x="61" y="97"/>
                  </a:lnTo>
                  <a:lnTo>
                    <a:pt x="64" y="88"/>
                  </a:lnTo>
                  <a:lnTo>
                    <a:pt x="68" y="81"/>
                  </a:lnTo>
                  <a:lnTo>
                    <a:pt x="74" y="74"/>
                  </a:lnTo>
                  <a:lnTo>
                    <a:pt x="80" y="69"/>
                  </a:lnTo>
                  <a:lnTo>
                    <a:pt x="88" y="65"/>
                  </a:lnTo>
                  <a:lnTo>
                    <a:pt x="96" y="63"/>
                  </a:lnTo>
                  <a:lnTo>
                    <a:pt x="106" y="62"/>
                  </a:lnTo>
                  <a:lnTo>
                    <a:pt x="114" y="63"/>
                  </a:lnTo>
                  <a:lnTo>
                    <a:pt x="123" y="65"/>
                  </a:lnTo>
                  <a:lnTo>
                    <a:pt x="131" y="69"/>
                  </a:lnTo>
                  <a:lnTo>
                    <a:pt x="137" y="74"/>
                  </a:lnTo>
                  <a:lnTo>
                    <a:pt x="143" y="81"/>
                  </a:lnTo>
                  <a:lnTo>
                    <a:pt x="147" y="88"/>
                  </a:lnTo>
                  <a:lnTo>
                    <a:pt x="150" y="97"/>
                  </a:lnTo>
                  <a:lnTo>
                    <a:pt x="151" y="107"/>
                  </a:lnTo>
                  <a:lnTo>
                    <a:pt x="150" y="115"/>
                  </a:lnTo>
                  <a:lnTo>
                    <a:pt x="148" y="124"/>
                  </a:lnTo>
                  <a:lnTo>
                    <a:pt x="143" y="131"/>
                  </a:lnTo>
                  <a:lnTo>
                    <a:pt x="137" y="139"/>
                  </a:lnTo>
                  <a:lnTo>
                    <a:pt x="131" y="144"/>
                  </a:lnTo>
                  <a:lnTo>
                    <a:pt x="123" y="149"/>
                  </a:lnTo>
                  <a:lnTo>
                    <a:pt x="114" y="151"/>
                  </a:lnTo>
                  <a:lnTo>
                    <a:pt x="106" y="152"/>
                  </a:lnTo>
                  <a:lnTo>
                    <a:pt x="106" y="152"/>
                  </a:lnTo>
                  <a:close/>
                  <a:moveTo>
                    <a:pt x="617" y="242"/>
                  </a:moveTo>
                  <a:lnTo>
                    <a:pt x="626" y="243"/>
                  </a:lnTo>
                  <a:lnTo>
                    <a:pt x="635" y="245"/>
                  </a:lnTo>
                  <a:lnTo>
                    <a:pt x="642" y="249"/>
                  </a:lnTo>
                  <a:lnTo>
                    <a:pt x="650" y="255"/>
                  </a:lnTo>
                  <a:lnTo>
                    <a:pt x="655" y="262"/>
                  </a:lnTo>
                  <a:lnTo>
                    <a:pt x="659" y="270"/>
                  </a:lnTo>
                  <a:lnTo>
                    <a:pt x="661" y="278"/>
                  </a:lnTo>
                  <a:lnTo>
                    <a:pt x="663" y="287"/>
                  </a:lnTo>
                  <a:lnTo>
                    <a:pt x="661" y="297"/>
                  </a:lnTo>
                  <a:lnTo>
                    <a:pt x="659" y="305"/>
                  </a:lnTo>
                  <a:lnTo>
                    <a:pt x="655" y="313"/>
                  </a:lnTo>
                  <a:lnTo>
                    <a:pt x="650" y="319"/>
                  </a:lnTo>
                  <a:lnTo>
                    <a:pt x="642" y="324"/>
                  </a:lnTo>
                  <a:lnTo>
                    <a:pt x="635" y="329"/>
                  </a:lnTo>
                  <a:lnTo>
                    <a:pt x="626" y="331"/>
                  </a:lnTo>
                  <a:lnTo>
                    <a:pt x="617" y="332"/>
                  </a:lnTo>
                  <a:lnTo>
                    <a:pt x="608" y="331"/>
                  </a:lnTo>
                  <a:lnTo>
                    <a:pt x="600" y="329"/>
                  </a:lnTo>
                  <a:lnTo>
                    <a:pt x="592" y="324"/>
                  </a:lnTo>
                  <a:lnTo>
                    <a:pt x="585" y="319"/>
                  </a:lnTo>
                  <a:lnTo>
                    <a:pt x="580" y="313"/>
                  </a:lnTo>
                  <a:lnTo>
                    <a:pt x="576" y="305"/>
                  </a:lnTo>
                  <a:lnTo>
                    <a:pt x="573" y="297"/>
                  </a:lnTo>
                  <a:lnTo>
                    <a:pt x="572" y="287"/>
                  </a:lnTo>
                  <a:lnTo>
                    <a:pt x="573" y="278"/>
                  </a:lnTo>
                  <a:lnTo>
                    <a:pt x="576" y="270"/>
                  </a:lnTo>
                  <a:lnTo>
                    <a:pt x="580" y="262"/>
                  </a:lnTo>
                  <a:lnTo>
                    <a:pt x="585" y="255"/>
                  </a:lnTo>
                  <a:lnTo>
                    <a:pt x="592" y="249"/>
                  </a:lnTo>
                  <a:lnTo>
                    <a:pt x="600" y="245"/>
                  </a:lnTo>
                  <a:lnTo>
                    <a:pt x="608" y="243"/>
                  </a:lnTo>
                  <a:lnTo>
                    <a:pt x="617" y="242"/>
                  </a:lnTo>
                  <a:close/>
                  <a:moveTo>
                    <a:pt x="391" y="392"/>
                  </a:moveTo>
                  <a:lnTo>
                    <a:pt x="663" y="392"/>
                  </a:lnTo>
                  <a:lnTo>
                    <a:pt x="669" y="392"/>
                  </a:lnTo>
                  <a:lnTo>
                    <a:pt x="674" y="391"/>
                  </a:lnTo>
                  <a:lnTo>
                    <a:pt x="681" y="390"/>
                  </a:lnTo>
                  <a:lnTo>
                    <a:pt x="686" y="388"/>
                  </a:lnTo>
                  <a:lnTo>
                    <a:pt x="691" y="386"/>
                  </a:lnTo>
                  <a:lnTo>
                    <a:pt x="697" y="382"/>
                  </a:lnTo>
                  <a:lnTo>
                    <a:pt x="701" y="379"/>
                  </a:lnTo>
                  <a:lnTo>
                    <a:pt x="705" y="375"/>
                  </a:lnTo>
                  <a:lnTo>
                    <a:pt x="709" y="371"/>
                  </a:lnTo>
                  <a:lnTo>
                    <a:pt x="713" y="366"/>
                  </a:lnTo>
                  <a:lnTo>
                    <a:pt x="715" y="361"/>
                  </a:lnTo>
                  <a:lnTo>
                    <a:pt x="718" y="356"/>
                  </a:lnTo>
                  <a:lnTo>
                    <a:pt x="720" y="350"/>
                  </a:lnTo>
                  <a:lnTo>
                    <a:pt x="721" y="345"/>
                  </a:lnTo>
                  <a:lnTo>
                    <a:pt x="723" y="338"/>
                  </a:lnTo>
                  <a:lnTo>
                    <a:pt x="723" y="332"/>
                  </a:lnTo>
                  <a:lnTo>
                    <a:pt x="723" y="62"/>
                  </a:lnTo>
                  <a:lnTo>
                    <a:pt x="723" y="55"/>
                  </a:lnTo>
                  <a:lnTo>
                    <a:pt x="721" y="49"/>
                  </a:lnTo>
                  <a:lnTo>
                    <a:pt x="720" y="43"/>
                  </a:lnTo>
                  <a:lnTo>
                    <a:pt x="718" y="38"/>
                  </a:lnTo>
                  <a:lnTo>
                    <a:pt x="715" y="33"/>
                  </a:lnTo>
                  <a:lnTo>
                    <a:pt x="713" y="27"/>
                  </a:lnTo>
                  <a:lnTo>
                    <a:pt x="709" y="23"/>
                  </a:lnTo>
                  <a:lnTo>
                    <a:pt x="705" y="19"/>
                  </a:lnTo>
                  <a:lnTo>
                    <a:pt x="701" y="14"/>
                  </a:lnTo>
                  <a:lnTo>
                    <a:pt x="697" y="11"/>
                  </a:lnTo>
                  <a:lnTo>
                    <a:pt x="691" y="8"/>
                  </a:lnTo>
                  <a:lnTo>
                    <a:pt x="686" y="6"/>
                  </a:lnTo>
                  <a:lnTo>
                    <a:pt x="681" y="4"/>
                  </a:lnTo>
                  <a:lnTo>
                    <a:pt x="674" y="3"/>
                  </a:lnTo>
                  <a:lnTo>
                    <a:pt x="669" y="2"/>
                  </a:lnTo>
                  <a:lnTo>
                    <a:pt x="663" y="2"/>
                  </a:lnTo>
                  <a:lnTo>
                    <a:pt x="61" y="0"/>
                  </a:lnTo>
                  <a:lnTo>
                    <a:pt x="54" y="2"/>
                  </a:lnTo>
                  <a:lnTo>
                    <a:pt x="48" y="3"/>
                  </a:lnTo>
                  <a:lnTo>
                    <a:pt x="43" y="4"/>
                  </a:lnTo>
                  <a:lnTo>
                    <a:pt x="37" y="6"/>
                  </a:lnTo>
                  <a:lnTo>
                    <a:pt x="32" y="8"/>
                  </a:lnTo>
                  <a:lnTo>
                    <a:pt x="27" y="11"/>
                  </a:lnTo>
                  <a:lnTo>
                    <a:pt x="22" y="14"/>
                  </a:lnTo>
                  <a:lnTo>
                    <a:pt x="18" y="19"/>
                  </a:lnTo>
                  <a:lnTo>
                    <a:pt x="14" y="23"/>
                  </a:lnTo>
                  <a:lnTo>
                    <a:pt x="10" y="27"/>
                  </a:lnTo>
                  <a:lnTo>
                    <a:pt x="7" y="33"/>
                  </a:lnTo>
                  <a:lnTo>
                    <a:pt x="5" y="38"/>
                  </a:lnTo>
                  <a:lnTo>
                    <a:pt x="3" y="43"/>
                  </a:lnTo>
                  <a:lnTo>
                    <a:pt x="2" y="49"/>
                  </a:lnTo>
                  <a:lnTo>
                    <a:pt x="1" y="55"/>
                  </a:lnTo>
                  <a:lnTo>
                    <a:pt x="0" y="62"/>
                  </a:lnTo>
                  <a:lnTo>
                    <a:pt x="0" y="304"/>
                  </a:lnTo>
                  <a:lnTo>
                    <a:pt x="22" y="299"/>
                  </a:lnTo>
                  <a:lnTo>
                    <a:pt x="46" y="294"/>
                  </a:lnTo>
                  <a:lnTo>
                    <a:pt x="68" y="291"/>
                  </a:lnTo>
                  <a:lnTo>
                    <a:pt x="90" y="290"/>
                  </a:lnTo>
                  <a:lnTo>
                    <a:pt x="126" y="288"/>
                  </a:lnTo>
                  <a:lnTo>
                    <a:pt x="151" y="287"/>
                  </a:lnTo>
                  <a:lnTo>
                    <a:pt x="172" y="288"/>
                  </a:lnTo>
                  <a:lnTo>
                    <a:pt x="206" y="289"/>
                  </a:lnTo>
                  <a:lnTo>
                    <a:pt x="225" y="291"/>
                  </a:lnTo>
                  <a:lnTo>
                    <a:pt x="244" y="293"/>
                  </a:lnTo>
                  <a:lnTo>
                    <a:pt x="266" y="297"/>
                  </a:lnTo>
                  <a:lnTo>
                    <a:pt x="286" y="300"/>
                  </a:lnTo>
                  <a:lnTo>
                    <a:pt x="306" y="305"/>
                  </a:lnTo>
                  <a:lnTo>
                    <a:pt x="326" y="312"/>
                  </a:lnTo>
                  <a:lnTo>
                    <a:pt x="344" y="318"/>
                  </a:lnTo>
                  <a:lnTo>
                    <a:pt x="360" y="327"/>
                  </a:lnTo>
                  <a:lnTo>
                    <a:pt x="366" y="332"/>
                  </a:lnTo>
                  <a:lnTo>
                    <a:pt x="373" y="337"/>
                  </a:lnTo>
                  <a:lnTo>
                    <a:pt x="378" y="343"/>
                  </a:lnTo>
                  <a:lnTo>
                    <a:pt x="383" y="349"/>
                  </a:lnTo>
                  <a:lnTo>
                    <a:pt x="387" y="356"/>
                  </a:lnTo>
                  <a:lnTo>
                    <a:pt x="389" y="362"/>
                  </a:lnTo>
                  <a:lnTo>
                    <a:pt x="391" y="369"/>
                  </a:lnTo>
                  <a:lnTo>
                    <a:pt x="391" y="377"/>
                  </a:lnTo>
                  <a:lnTo>
                    <a:pt x="391" y="3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499">
              <a:extLst>
                <a:ext uri="{FF2B5EF4-FFF2-40B4-BE49-F238E27FC236}">
                  <a16:creationId xmlns:a16="http://schemas.microsoft.com/office/drawing/2014/main" id="{AE2BAB45-1846-47D0-AD02-4B82F4A4342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6025" y="1598613"/>
              <a:ext cx="133350" cy="33338"/>
            </a:xfrm>
            <a:custGeom>
              <a:avLst/>
              <a:gdLst>
                <a:gd name="T0" fmla="*/ 0 w 421"/>
                <a:gd name="T1" fmla="*/ 44 h 104"/>
                <a:gd name="T2" fmla="*/ 2 w 421"/>
                <a:gd name="T3" fmla="*/ 52 h 104"/>
                <a:gd name="T4" fmla="*/ 5 w 421"/>
                <a:gd name="T5" fmla="*/ 56 h 104"/>
                <a:gd name="T6" fmla="*/ 6 w 421"/>
                <a:gd name="T7" fmla="*/ 59 h 104"/>
                <a:gd name="T8" fmla="*/ 11 w 421"/>
                <a:gd name="T9" fmla="*/ 65 h 104"/>
                <a:gd name="T10" fmla="*/ 13 w 421"/>
                <a:gd name="T11" fmla="*/ 65 h 104"/>
                <a:gd name="T12" fmla="*/ 31 w 421"/>
                <a:gd name="T13" fmla="*/ 76 h 104"/>
                <a:gd name="T14" fmla="*/ 32 w 421"/>
                <a:gd name="T15" fmla="*/ 77 h 104"/>
                <a:gd name="T16" fmla="*/ 41 w 421"/>
                <a:gd name="T17" fmla="*/ 80 h 104"/>
                <a:gd name="T18" fmla="*/ 45 w 421"/>
                <a:gd name="T19" fmla="*/ 81 h 104"/>
                <a:gd name="T20" fmla="*/ 53 w 421"/>
                <a:gd name="T21" fmla="*/ 84 h 104"/>
                <a:gd name="T22" fmla="*/ 61 w 421"/>
                <a:gd name="T23" fmla="*/ 86 h 104"/>
                <a:gd name="T24" fmla="*/ 66 w 421"/>
                <a:gd name="T25" fmla="*/ 87 h 104"/>
                <a:gd name="T26" fmla="*/ 98 w 421"/>
                <a:gd name="T27" fmla="*/ 95 h 104"/>
                <a:gd name="T28" fmla="*/ 133 w 421"/>
                <a:gd name="T29" fmla="*/ 99 h 104"/>
                <a:gd name="T30" fmla="*/ 197 w 421"/>
                <a:gd name="T31" fmla="*/ 104 h 104"/>
                <a:gd name="T32" fmla="*/ 211 w 421"/>
                <a:gd name="T33" fmla="*/ 104 h 104"/>
                <a:gd name="T34" fmla="*/ 225 w 421"/>
                <a:gd name="T35" fmla="*/ 104 h 104"/>
                <a:gd name="T36" fmla="*/ 289 w 421"/>
                <a:gd name="T37" fmla="*/ 99 h 104"/>
                <a:gd name="T38" fmla="*/ 322 w 421"/>
                <a:gd name="T39" fmla="*/ 95 h 104"/>
                <a:gd name="T40" fmla="*/ 356 w 421"/>
                <a:gd name="T41" fmla="*/ 87 h 104"/>
                <a:gd name="T42" fmla="*/ 360 w 421"/>
                <a:gd name="T43" fmla="*/ 86 h 104"/>
                <a:gd name="T44" fmla="*/ 368 w 421"/>
                <a:gd name="T45" fmla="*/ 84 h 104"/>
                <a:gd name="T46" fmla="*/ 376 w 421"/>
                <a:gd name="T47" fmla="*/ 81 h 104"/>
                <a:gd name="T48" fmla="*/ 379 w 421"/>
                <a:gd name="T49" fmla="*/ 80 h 104"/>
                <a:gd name="T50" fmla="*/ 390 w 421"/>
                <a:gd name="T51" fmla="*/ 77 h 104"/>
                <a:gd name="T52" fmla="*/ 391 w 421"/>
                <a:gd name="T53" fmla="*/ 76 h 104"/>
                <a:gd name="T54" fmla="*/ 409 w 421"/>
                <a:gd name="T55" fmla="*/ 65 h 104"/>
                <a:gd name="T56" fmla="*/ 409 w 421"/>
                <a:gd name="T57" fmla="*/ 65 h 104"/>
                <a:gd name="T58" fmla="*/ 416 w 421"/>
                <a:gd name="T59" fmla="*/ 59 h 104"/>
                <a:gd name="T60" fmla="*/ 417 w 421"/>
                <a:gd name="T61" fmla="*/ 56 h 104"/>
                <a:gd name="T62" fmla="*/ 420 w 421"/>
                <a:gd name="T63" fmla="*/ 52 h 104"/>
                <a:gd name="T64" fmla="*/ 421 w 421"/>
                <a:gd name="T65" fmla="*/ 44 h 104"/>
                <a:gd name="T66" fmla="*/ 410 w 421"/>
                <a:gd name="T67" fmla="*/ 4 h 104"/>
                <a:gd name="T68" fmla="*/ 386 w 421"/>
                <a:gd name="T69" fmla="*/ 10 h 104"/>
                <a:gd name="T70" fmla="*/ 344 w 421"/>
                <a:gd name="T71" fmla="*/ 19 h 104"/>
                <a:gd name="T72" fmla="*/ 284 w 421"/>
                <a:gd name="T73" fmla="*/ 25 h 104"/>
                <a:gd name="T74" fmla="*/ 231 w 421"/>
                <a:gd name="T75" fmla="*/ 28 h 104"/>
                <a:gd name="T76" fmla="*/ 191 w 421"/>
                <a:gd name="T77" fmla="*/ 28 h 104"/>
                <a:gd name="T78" fmla="*/ 138 w 421"/>
                <a:gd name="T79" fmla="*/ 25 h 104"/>
                <a:gd name="T80" fmla="*/ 78 w 421"/>
                <a:gd name="T81" fmla="*/ 19 h 104"/>
                <a:gd name="T82" fmla="*/ 35 w 421"/>
                <a:gd name="T83" fmla="*/ 10 h 104"/>
                <a:gd name="T84" fmla="*/ 10 w 421"/>
                <a:gd name="T85" fmla="*/ 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21" h="104">
                  <a:moveTo>
                    <a:pt x="0" y="0"/>
                  </a:moveTo>
                  <a:lnTo>
                    <a:pt x="0" y="44"/>
                  </a:lnTo>
                  <a:lnTo>
                    <a:pt x="1" y="48"/>
                  </a:lnTo>
                  <a:lnTo>
                    <a:pt x="2" y="52"/>
                  </a:lnTo>
                  <a:lnTo>
                    <a:pt x="3" y="54"/>
                  </a:lnTo>
                  <a:lnTo>
                    <a:pt x="5" y="56"/>
                  </a:lnTo>
                  <a:lnTo>
                    <a:pt x="5" y="57"/>
                  </a:lnTo>
                  <a:lnTo>
                    <a:pt x="6" y="59"/>
                  </a:lnTo>
                  <a:lnTo>
                    <a:pt x="8" y="62"/>
                  </a:lnTo>
                  <a:lnTo>
                    <a:pt x="11" y="65"/>
                  </a:lnTo>
                  <a:lnTo>
                    <a:pt x="11" y="65"/>
                  </a:lnTo>
                  <a:lnTo>
                    <a:pt x="13" y="65"/>
                  </a:lnTo>
                  <a:lnTo>
                    <a:pt x="20" y="70"/>
                  </a:lnTo>
                  <a:lnTo>
                    <a:pt x="31" y="76"/>
                  </a:lnTo>
                  <a:lnTo>
                    <a:pt x="31" y="76"/>
                  </a:lnTo>
                  <a:lnTo>
                    <a:pt x="32" y="77"/>
                  </a:lnTo>
                  <a:lnTo>
                    <a:pt x="36" y="79"/>
                  </a:lnTo>
                  <a:lnTo>
                    <a:pt x="41" y="80"/>
                  </a:lnTo>
                  <a:lnTo>
                    <a:pt x="44" y="81"/>
                  </a:lnTo>
                  <a:lnTo>
                    <a:pt x="45" y="81"/>
                  </a:lnTo>
                  <a:lnTo>
                    <a:pt x="49" y="83"/>
                  </a:lnTo>
                  <a:lnTo>
                    <a:pt x="53" y="84"/>
                  </a:lnTo>
                  <a:lnTo>
                    <a:pt x="58" y="85"/>
                  </a:lnTo>
                  <a:lnTo>
                    <a:pt x="61" y="86"/>
                  </a:lnTo>
                  <a:lnTo>
                    <a:pt x="64" y="87"/>
                  </a:lnTo>
                  <a:lnTo>
                    <a:pt x="66" y="87"/>
                  </a:lnTo>
                  <a:lnTo>
                    <a:pt x="82" y="92"/>
                  </a:lnTo>
                  <a:lnTo>
                    <a:pt x="98" y="95"/>
                  </a:lnTo>
                  <a:lnTo>
                    <a:pt x="115" y="97"/>
                  </a:lnTo>
                  <a:lnTo>
                    <a:pt x="133" y="99"/>
                  </a:lnTo>
                  <a:lnTo>
                    <a:pt x="166" y="102"/>
                  </a:lnTo>
                  <a:lnTo>
                    <a:pt x="197" y="104"/>
                  </a:lnTo>
                  <a:lnTo>
                    <a:pt x="203" y="104"/>
                  </a:lnTo>
                  <a:lnTo>
                    <a:pt x="211" y="104"/>
                  </a:lnTo>
                  <a:lnTo>
                    <a:pt x="217" y="104"/>
                  </a:lnTo>
                  <a:lnTo>
                    <a:pt x="225" y="104"/>
                  </a:lnTo>
                  <a:lnTo>
                    <a:pt x="255" y="102"/>
                  </a:lnTo>
                  <a:lnTo>
                    <a:pt x="289" y="99"/>
                  </a:lnTo>
                  <a:lnTo>
                    <a:pt x="306" y="97"/>
                  </a:lnTo>
                  <a:lnTo>
                    <a:pt x="322" y="95"/>
                  </a:lnTo>
                  <a:lnTo>
                    <a:pt x="340" y="92"/>
                  </a:lnTo>
                  <a:lnTo>
                    <a:pt x="356" y="87"/>
                  </a:lnTo>
                  <a:lnTo>
                    <a:pt x="358" y="87"/>
                  </a:lnTo>
                  <a:lnTo>
                    <a:pt x="360" y="86"/>
                  </a:lnTo>
                  <a:lnTo>
                    <a:pt x="364" y="85"/>
                  </a:lnTo>
                  <a:lnTo>
                    <a:pt x="368" y="84"/>
                  </a:lnTo>
                  <a:lnTo>
                    <a:pt x="372" y="83"/>
                  </a:lnTo>
                  <a:lnTo>
                    <a:pt x="376" y="81"/>
                  </a:lnTo>
                  <a:lnTo>
                    <a:pt x="378" y="81"/>
                  </a:lnTo>
                  <a:lnTo>
                    <a:pt x="379" y="80"/>
                  </a:lnTo>
                  <a:lnTo>
                    <a:pt x="385" y="79"/>
                  </a:lnTo>
                  <a:lnTo>
                    <a:pt x="390" y="77"/>
                  </a:lnTo>
                  <a:lnTo>
                    <a:pt x="390" y="76"/>
                  </a:lnTo>
                  <a:lnTo>
                    <a:pt x="391" y="76"/>
                  </a:lnTo>
                  <a:lnTo>
                    <a:pt x="401" y="70"/>
                  </a:lnTo>
                  <a:lnTo>
                    <a:pt x="409" y="65"/>
                  </a:lnTo>
                  <a:lnTo>
                    <a:pt x="409" y="65"/>
                  </a:lnTo>
                  <a:lnTo>
                    <a:pt x="409" y="65"/>
                  </a:lnTo>
                  <a:lnTo>
                    <a:pt x="413" y="62"/>
                  </a:lnTo>
                  <a:lnTo>
                    <a:pt x="416" y="59"/>
                  </a:lnTo>
                  <a:lnTo>
                    <a:pt x="417" y="57"/>
                  </a:lnTo>
                  <a:lnTo>
                    <a:pt x="417" y="56"/>
                  </a:lnTo>
                  <a:lnTo>
                    <a:pt x="419" y="54"/>
                  </a:lnTo>
                  <a:lnTo>
                    <a:pt x="420" y="52"/>
                  </a:lnTo>
                  <a:lnTo>
                    <a:pt x="421" y="48"/>
                  </a:lnTo>
                  <a:lnTo>
                    <a:pt x="421" y="44"/>
                  </a:lnTo>
                  <a:lnTo>
                    <a:pt x="421" y="0"/>
                  </a:lnTo>
                  <a:lnTo>
                    <a:pt x="410" y="4"/>
                  </a:lnTo>
                  <a:lnTo>
                    <a:pt x="399" y="7"/>
                  </a:lnTo>
                  <a:lnTo>
                    <a:pt x="386" y="10"/>
                  </a:lnTo>
                  <a:lnTo>
                    <a:pt x="373" y="13"/>
                  </a:lnTo>
                  <a:lnTo>
                    <a:pt x="344" y="19"/>
                  </a:lnTo>
                  <a:lnTo>
                    <a:pt x="314" y="23"/>
                  </a:lnTo>
                  <a:lnTo>
                    <a:pt x="284" y="25"/>
                  </a:lnTo>
                  <a:lnTo>
                    <a:pt x="256" y="27"/>
                  </a:lnTo>
                  <a:lnTo>
                    <a:pt x="231" y="28"/>
                  </a:lnTo>
                  <a:lnTo>
                    <a:pt x="211" y="28"/>
                  </a:lnTo>
                  <a:lnTo>
                    <a:pt x="191" y="28"/>
                  </a:lnTo>
                  <a:lnTo>
                    <a:pt x="166" y="27"/>
                  </a:lnTo>
                  <a:lnTo>
                    <a:pt x="138" y="25"/>
                  </a:lnTo>
                  <a:lnTo>
                    <a:pt x="108" y="23"/>
                  </a:lnTo>
                  <a:lnTo>
                    <a:pt x="78" y="19"/>
                  </a:lnTo>
                  <a:lnTo>
                    <a:pt x="49" y="13"/>
                  </a:lnTo>
                  <a:lnTo>
                    <a:pt x="35" y="10"/>
                  </a:lnTo>
                  <a:lnTo>
                    <a:pt x="22" y="7"/>
                  </a:lnTo>
                  <a:lnTo>
                    <a:pt x="10" y="4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500">
              <a:extLst>
                <a:ext uri="{FF2B5EF4-FFF2-40B4-BE49-F238E27FC236}">
                  <a16:creationId xmlns:a16="http://schemas.microsoft.com/office/drawing/2014/main" id="{5D63CFA2-6903-4898-A0CB-696939A4D21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6025" y="1474788"/>
              <a:ext cx="133350" cy="28575"/>
            </a:xfrm>
            <a:custGeom>
              <a:avLst/>
              <a:gdLst>
                <a:gd name="T0" fmla="*/ 420 w 420"/>
                <a:gd name="T1" fmla="*/ 58 h 90"/>
                <a:gd name="T2" fmla="*/ 419 w 420"/>
                <a:gd name="T3" fmla="*/ 55 h 90"/>
                <a:gd name="T4" fmla="*/ 418 w 420"/>
                <a:gd name="T5" fmla="*/ 50 h 90"/>
                <a:gd name="T6" fmla="*/ 416 w 420"/>
                <a:gd name="T7" fmla="*/ 47 h 90"/>
                <a:gd name="T8" fmla="*/ 413 w 420"/>
                <a:gd name="T9" fmla="*/ 44 h 90"/>
                <a:gd name="T10" fmla="*/ 406 w 420"/>
                <a:gd name="T11" fmla="*/ 37 h 90"/>
                <a:gd name="T12" fmla="*/ 397 w 420"/>
                <a:gd name="T13" fmla="*/ 32 h 90"/>
                <a:gd name="T14" fmla="*/ 386 w 420"/>
                <a:gd name="T15" fmla="*/ 27 h 90"/>
                <a:gd name="T16" fmla="*/ 374 w 420"/>
                <a:gd name="T17" fmla="*/ 22 h 90"/>
                <a:gd name="T18" fmla="*/ 360 w 420"/>
                <a:gd name="T19" fmla="*/ 18 h 90"/>
                <a:gd name="T20" fmla="*/ 345 w 420"/>
                <a:gd name="T21" fmla="*/ 14 h 90"/>
                <a:gd name="T22" fmla="*/ 313 w 420"/>
                <a:gd name="T23" fmla="*/ 9 h 90"/>
                <a:gd name="T24" fmla="*/ 277 w 420"/>
                <a:gd name="T25" fmla="*/ 3 h 90"/>
                <a:gd name="T26" fmla="*/ 243 w 420"/>
                <a:gd name="T27" fmla="*/ 1 h 90"/>
                <a:gd name="T28" fmla="*/ 210 w 420"/>
                <a:gd name="T29" fmla="*/ 0 h 90"/>
                <a:gd name="T30" fmla="*/ 172 w 420"/>
                <a:gd name="T31" fmla="*/ 1 h 90"/>
                <a:gd name="T32" fmla="*/ 133 w 420"/>
                <a:gd name="T33" fmla="*/ 4 h 90"/>
                <a:gd name="T34" fmla="*/ 113 w 420"/>
                <a:gd name="T35" fmla="*/ 7 h 90"/>
                <a:gd name="T36" fmla="*/ 94 w 420"/>
                <a:gd name="T37" fmla="*/ 11 h 90"/>
                <a:gd name="T38" fmla="*/ 76 w 420"/>
                <a:gd name="T39" fmla="*/ 14 h 90"/>
                <a:gd name="T40" fmla="*/ 59 w 420"/>
                <a:gd name="T41" fmla="*/ 18 h 90"/>
                <a:gd name="T42" fmla="*/ 59 w 420"/>
                <a:gd name="T43" fmla="*/ 18 h 90"/>
                <a:gd name="T44" fmla="*/ 55 w 420"/>
                <a:gd name="T45" fmla="*/ 19 h 90"/>
                <a:gd name="T46" fmla="*/ 52 w 420"/>
                <a:gd name="T47" fmla="*/ 20 h 90"/>
                <a:gd name="T48" fmla="*/ 48 w 420"/>
                <a:gd name="T49" fmla="*/ 21 h 90"/>
                <a:gd name="T50" fmla="*/ 44 w 420"/>
                <a:gd name="T51" fmla="*/ 22 h 90"/>
                <a:gd name="T52" fmla="*/ 43 w 420"/>
                <a:gd name="T53" fmla="*/ 24 h 90"/>
                <a:gd name="T54" fmla="*/ 40 w 420"/>
                <a:gd name="T55" fmla="*/ 24 h 90"/>
                <a:gd name="T56" fmla="*/ 35 w 420"/>
                <a:gd name="T57" fmla="*/ 26 h 90"/>
                <a:gd name="T58" fmla="*/ 31 w 420"/>
                <a:gd name="T59" fmla="*/ 28 h 90"/>
                <a:gd name="T60" fmla="*/ 30 w 420"/>
                <a:gd name="T61" fmla="*/ 28 h 90"/>
                <a:gd name="T62" fmla="*/ 30 w 420"/>
                <a:gd name="T63" fmla="*/ 28 h 90"/>
                <a:gd name="T64" fmla="*/ 19 w 420"/>
                <a:gd name="T65" fmla="*/ 33 h 90"/>
                <a:gd name="T66" fmla="*/ 12 w 420"/>
                <a:gd name="T67" fmla="*/ 40 h 90"/>
                <a:gd name="T68" fmla="*/ 10 w 420"/>
                <a:gd name="T69" fmla="*/ 40 h 90"/>
                <a:gd name="T70" fmla="*/ 10 w 420"/>
                <a:gd name="T71" fmla="*/ 40 h 90"/>
                <a:gd name="T72" fmla="*/ 7 w 420"/>
                <a:gd name="T73" fmla="*/ 43 h 90"/>
                <a:gd name="T74" fmla="*/ 5 w 420"/>
                <a:gd name="T75" fmla="*/ 46 h 90"/>
                <a:gd name="T76" fmla="*/ 4 w 420"/>
                <a:gd name="T77" fmla="*/ 47 h 90"/>
                <a:gd name="T78" fmla="*/ 4 w 420"/>
                <a:gd name="T79" fmla="*/ 48 h 90"/>
                <a:gd name="T80" fmla="*/ 2 w 420"/>
                <a:gd name="T81" fmla="*/ 50 h 90"/>
                <a:gd name="T82" fmla="*/ 1 w 420"/>
                <a:gd name="T83" fmla="*/ 52 h 90"/>
                <a:gd name="T84" fmla="*/ 0 w 420"/>
                <a:gd name="T85" fmla="*/ 56 h 90"/>
                <a:gd name="T86" fmla="*/ 0 w 420"/>
                <a:gd name="T87" fmla="*/ 58 h 90"/>
                <a:gd name="T88" fmla="*/ 8 w 420"/>
                <a:gd name="T89" fmla="*/ 63 h 90"/>
                <a:gd name="T90" fmla="*/ 22 w 420"/>
                <a:gd name="T91" fmla="*/ 68 h 90"/>
                <a:gd name="T92" fmla="*/ 43 w 420"/>
                <a:gd name="T93" fmla="*/ 74 h 90"/>
                <a:gd name="T94" fmla="*/ 67 w 420"/>
                <a:gd name="T95" fmla="*/ 78 h 90"/>
                <a:gd name="T96" fmla="*/ 96 w 420"/>
                <a:gd name="T97" fmla="*/ 84 h 90"/>
                <a:gd name="T98" fmla="*/ 131 w 420"/>
                <a:gd name="T99" fmla="*/ 87 h 90"/>
                <a:gd name="T100" fmla="*/ 168 w 420"/>
                <a:gd name="T101" fmla="*/ 90 h 90"/>
                <a:gd name="T102" fmla="*/ 210 w 420"/>
                <a:gd name="T103" fmla="*/ 90 h 90"/>
                <a:gd name="T104" fmla="*/ 251 w 420"/>
                <a:gd name="T105" fmla="*/ 90 h 90"/>
                <a:gd name="T106" fmla="*/ 289 w 420"/>
                <a:gd name="T107" fmla="*/ 87 h 90"/>
                <a:gd name="T108" fmla="*/ 323 w 420"/>
                <a:gd name="T109" fmla="*/ 84 h 90"/>
                <a:gd name="T110" fmla="*/ 353 w 420"/>
                <a:gd name="T111" fmla="*/ 78 h 90"/>
                <a:gd name="T112" fmla="*/ 377 w 420"/>
                <a:gd name="T113" fmla="*/ 74 h 90"/>
                <a:gd name="T114" fmla="*/ 398 w 420"/>
                <a:gd name="T115" fmla="*/ 68 h 90"/>
                <a:gd name="T116" fmla="*/ 412 w 420"/>
                <a:gd name="T117" fmla="*/ 62 h 90"/>
                <a:gd name="T118" fmla="*/ 420 w 420"/>
                <a:gd name="T119" fmla="*/ 58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20" h="90">
                  <a:moveTo>
                    <a:pt x="420" y="58"/>
                  </a:moveTo>
                  <a:lnTo>
                    <a:pt x="419" y="55"/>
                  </a:lnTo>
                  <a:lnTo>
                    <a:pt x="418" y="50"/>
                  </a:lnTo>
                  <a:lnTo>
                    <a:pt x="416" y="47"/>
                  </a:lnTo>
                  <a:lnTo>
                    <a:pt x="413" y="44"/>
                  </a:lnTo>
                  <a:lnTo>
                    <a:pt x="406" y="37"/>
                  </a:lnTo>
                  <a:lnTo>
                    <a:pt x="397" y="32"/>
                  </a:lnTo>
                  <a:lnTo>
                    <a:pt x="386" y="27"/>
                  </a:lnTo>
                  <a:lnTo>
                    <a:pt x="374" y="22"/>
                  </a:lnTo>
                  <a:lnTo>
                    <a:pt x="360" y="18"/>
                  </a:lnTo>
                  <a:lnTo>
                    <a:pt x="345" y="14"/>
                  </a:lnTo>
                  <a:lnTo>
                    <a:pt x="313" y="9"/>
                  </a:lnTo>
                  <a:lnTo>
                    <a:pt x="277" y="3"/>
                  </a:lnTo>
                  <a:lnTo>
                    <a:pt x="243" y="1"/>
                  </a:lnTo>
                  <a:lnTo>
                    <a:pt x="210" y="0"/>
                  </a:lnTo>
                  <a:lnTo>
                    <a:pt x="172" y="1"/>
                  </a:lnTo>
                  <a:lnTo>
                    <a:pt x="133" y="4"/>
                  </a:lnTo>
                  <a:lnTo>
                    <a:pt x="113" y="7"/>
                  </a:lnTo>
                  <a:lnTo>
                    <a:pt x="94" y="11"/>
                  </a:lnTo>
                  <a:lnTo>
                    <a:pt x="76" y="14"/>
                  </a:lnTo>
                  <a:lnTo>
                    <a:pt x="59" y="18"/>
                  </a:lnTo>
                  <a:lnTo>
                    <a:pt x="59" y="18"/>
                  </a:lnTo>
                  <a:lnTo>
                    <a:pt x="55" y="19"/>
                  </a:lnTo>
                  <a:lnTo>
                    <a:pt x="52" y="20"/>
                  </a:lnTo>
                  <a:lnTo>
                    <a:pt x="48" y="21"/>
                  </a:lnTo>
                  <a:lnTo>
                    <a:pt x="44" y="22"/>
                  </a:lnTo>
                  <a:lnTo>
                    <a:pt x="43" y="24"/>
                  </a:lnTo>
                  <a:lnTo>
                    <a:pt x="40" y="24"/>
                  </a:lnTo>
                  <a:lnTo>
                    <a:pt x="35" y="26"/>
                  </a:lnTo>
                  <a:lnTo>
                    <a:pt x="31" y="28"/>
                  </a:lnTo>
                  <a:lnTo>
                    <a:pt x="30" y="28"/>
                  </a:lnTo>
                  <a:lnTo>
                    <a:pt x="30" y="28"/>
                  </a:lnTo>
                  <a:lnTo>
                    <a:pt x="19" y="33"/>
                  </a:lnTo>
                  <a:lnTo>
                    <a:pt x="12" y="40"/>
                  </a:lnTo>
                  <a:lnTo>
                    <a:pt x="10" y="40"/>
                  </a:lnTo>
                  <a:lnTo>
                    <a:pt x="10" y="40"/>
                  </a:lnTo>
                  <a:lnTo>
                    <a:pt x="7" y="43"/>
                  </a:lnTo>
                  <a:lnTo>
                    <a:pt x="5" y="46"/>
                  </a:lnTo>
                  <a:lnTo>
                    <a:pt x="4" y="47"/>
                  </a:lnTo>
                  <a:lnTo>
                    <a:pt x="4" y="48"/>
                  </a:lnTo>
                  <a:lnTo>
                    <a:pt x="2" y="50"/>
                  </a:lnTo>
                  <a:lnTo>
                    <a:pt x="1" y="52"/>
                  </a:lnTo>
                  <a:lnTo>
                    <a:pt x="0" y="56"/>
                  </a:lnTo>
                  <a:lnTo>
                    <a:pt x="0" y="58"/>
                  </a:lnTo>
                  <a:lnTo>
                    <a:pt x="8" y="63"/>
                  </a:lnTo>
                  <a:lnTo>
                    <a:pt x="22" y="68"/>
                  </a:lnTo>
                  <a:lnTo>
                    <a:pt x="43" y="74"/>
                  </a:lnTo>
                  <a:lnTo>
                    <a:pt x="67" y="78"/>
                  </a:lnTo>
                  <a:lnTo>
                    <a:pt x="96" y="84"/>
                  </a:lnTo>
                  <a:lnTo>
                    <a:pt x="131" y="87"/>
                  </a:lnTo>
                  <a:lnTo>
                    <a:pt x="168" y="90"/>
                  </a:lnTo>
                  <a:lnTo>
                    <a:pt x="210" y="90"/>
                  </a:lnTo>
                  <a:lnTo>
                    <a:pt x="251" y="90"/>
                  </a:lnTo>
                  <a:lnTo>
                    <a:pt x="289" y="87"/>
                  </a:lnTo>
                  <a:lnTo>
                    <a:pt x="323" y="84"/>
                  </a:lnTo>
                  <a:lnTo>
                    <a:pt x="353" y="78"/>
                  </a:lnTo>
                  <a:lnTo>
                    <a:pt x="377" y="74"/>
                  </a:lnTo>
                  <a:lnTo>
                    <a:pt x="398" y="68"/>
                  </a:lnTo>
                  <a:lnTo>
                    <a:pt x="412" y="62"/>
                  </a:lnTo>
                  <a:lnTo>
                    <a:pt x="420" y="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Freeform 501">
              <a:extLst>
                <a:ext uri="{FF2B5EF4-FFF2-40B4-BE49-F238E27FC236}">
                  <a16:creationId xmlns:a16="http://schemas.microsoft.com/office/drawing/2014/main" id="{B465F92C-757B-4BA5-8968-E8C051128E61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6025" y="1503363"/>
              <a:ext cx="133350" cy="23813"/>
            </a:xfrm>
            <a:custGeom>
              <a:avLst/>
              <a:gdLst>
                <a:gd name="T0" fmla="*/ 0 w 421"/>
                <a:gd name="T1" fmla="*/ 0 h 75"/>
                <a:gd name="T2" fmla="*/ 0 w 421"/>
                <a:gd name="T3" fmla="*/ 42 h 75"/>
                <a:gd name="T4" fmla="*/ 8 w 421"/>
                <a:gd name="T5" fmla="*/ 46 h 75"/>
                <a:gd name="T6" fmla="*/ 22 w 421"/>
                <a:gd name="T7" fmla="*/ 52 h 75"/>
                <a:gd name="T8" fmla="*/ 43 w 421"/>
                <a:gd name="T9" fmla="*/ 57 h 75"/>
                <a:gd name="T10" fmla="*/ 67 w 421"/>
                <a:gd name="T11" fmla="*/ 62 h 75"/>
                <a:gd name="T12" fmla="*/ 97 w 421"/>
                <a:gd name="T13" fmla="*/ 68 h 75"/>
                <a:gd name="T14" fmla="*/ 130 w 421"/>
                <a:gd name="T15" fmla="*/ 71 h 75"/>
                <a:gd name="T16" fmla="*/ 169 w 421"/>
                <a:gd name="T17" fmla="*/ 74 h 75"/>
                <a:gd name="T18" fmla="*/ 211 w 421"/>
                <a:gd name="T19" fmla="*/ 75 h 75"/>
                <a:gd name="T20" fmla="*/ 253 w 421"/>
                <a:gd name="T21" fmla="*/ 74 h 75"/>
                <a:gd name="T22" fmla="*/ 290 w 421"/>
                <a:gd name="T23" fmla="*/ 71 h 75"/>
                <a:gd name="T24" fmla="*/ 325 w 421"/>
                <a:gd name="T25" fmla="*/ 68 h 75"/>
                <a:gd name="T26" fmla="*/ 355 w 421"/>
                <a:gd name="T27" fmla="*/ 62 h 75"/>
                <a:gd name="T28" fmla="*/ 379 w 421"/>
                <a:gd name="T29" fmla="*/ 57 h 75"/>
                <a:gd name="T30" fmla="*/ 399 w 421"/>
                <a:gd name="T31" fmla="*/ 52 h 75"/>
                <a:gd name="T32" fmla="*/ 414 w 421"/>
                <a:gd name="T33" fmla="*/ 46 h 75"/>
                <a:gd name="T34" fmla="*/ 421 w 421"/>
                <a:gd name="T35" fmla="*/ 42 h 75"/>
                <a:gd name="T36" fmla="*/ 421 w 421"/>
                <a:gd name="T37" fmla="*/ 0 h 75"/>
                <a:gd name="T38" fmla="*/ 410 w 421"/>
                <a:gd name="T39" fmla="*/ 4 h 75"/>
                <a:gd name="T40" fmla="*/ 399 w 421"/>
                <a:gd name="T41" fmla="*/ 8 h 75"/>
                <a:gd name="T42" fmla="*/ 386 w 421"/>
                <a:gd name="T43" fmla="*/ 12 h 75"/>
                <a:gd name="T44" fmla="*/ 373 w 421"/>
                <a:gd name="T45" fmla="*/ 14 h 75"/>
                <a:gd name="T46" fmla="*/ 344 w 421"/>
                <a:gd name="T47" fmla="*/ 19 h 75"/>
                <a:gd name="T48" fmla="*/ 314 w 421"/>
                <a:gd name="T49" fmla="*/ 24 h 75"/>
                <a:gd name="T50" fmla="*/ 284 w 421"/>
                <a:gd name="T51" fmla="*/ 27 h 75"/>
                <a:gd name="T52" fmla="*/ 256 w 421"/>
                <a:gd name="T53" fmla="*/ 28 h 75"/>
                <a:gd name="T54" fmla="*/ 231 w 421"/>
                <a:gd name="T55" fmla="*/ 29 h 75"/>
                <a:gd name="T56" fmla="*/ 211 w 421"/>
                <a:gd name="T57" fmla="*/ 30 h 75"/>
                <a:gd name="T58" fmla="*/ 191 w 421"/>
                <a:gd name="T59" fmla="*/ 29 h 75"/>
                <a:gd name="T60" fmla="*/ 166 w 421"/>
                <a:gd name="T61" fmla="*/ 28 h 75"/>
                <a:gd name="T62" fmla="*/ 138 w 421"/>
                <a:gd name="T63" fmla="*/ 27 h 75"/>
                <a:gd name="T64" fmla="*/ 108 w 421"/>
                <a:gd name="T65" fmla="*/ 24 h 75"/>
                <a:gd name="T66" fmla="*/ 78 w 421"/>
                <a:gd name="T67" fmla="*/ 19 h 75"/>
                <a:gd name="T68" fmla="*/ 49 w 421"/>
                <a:gd name="T69" fmla="*/ 15 h 75"/>
                <a:gd name="T70" fmla="*/ 35 w 421"/>
                <a:gd name="T71" fmla="*/ 12 h 75"/>
                <a:gd name="T72" fmla="*/ 22 w 421"/>
                <a:gd name="T73" fmla="*/ 8 h 75"/>
                <a:gd name="T74" fmla="*/ 10 w 421"/>
                <a:gd name="T75" fmla="*/ 4 h 75"/>
                <a:gd name="T76" fmla="*/ 0 w 421"/>
                <a:gd name="T77" fmla="*/ 0 h 75"/>
                <a:gd name="T78" fmla="*/ 0 w 421"/>
                <a:gd name="T79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421" h="75">
                  <a:moveTo>
                    <a:pt x="0" y="0"/>
                  </a:moveTo>
                  <a:lnTo>
                    <a:pt x="0" y="42"/>
                  </a:lnTo>
                  <a:lnTo>
                    <a:pt x="8" y="46"/>
                  </a:lnTo>
                  <a:lnTo>
                    <a:pt x="22" y="52"/>
                  </a:lnTo>
                  <a:lnTo>
                    <a:pt x="43" y="57"/>
                  </a:lnTo>
                  <a:lnTo>
                    <a:pt x="67" y="62"/>
                  </a:lnTo>
                  <a:lnTo>
                    <a:pt x="97" y="68"/>
                  </a:lnTo>
                  <a:lnTo>
                    <a:pt x="130" y="71"/>
                  </a:lnTo>
                  <a:lnTo>
                    <a:pt x="169" y="74"/>
                  </a:lnTo>
                  <a:lnTo>
                    <a:pt x="211" y="75"/>
                  </a:lnTo>
                  <a:lnTo>
                    <a:pt x="253" y="74"/>
                  </a:lnTo>
                  <a:lnTo>
                    <a:pt x="290" y="71"/>
                  </a:lnTo>
                  <a:lnTo>
                    <a:pt x="325" y="68"/>
                  </a:lnTo>
                  <a:lnTo>
                    <a:pt x="355" y="62"/>
                  </a:lnTo>
                  <a:lnTo>
                    <a:pt x="379" y="57"/>
                  </a:lnTo>
                  <a:lnTo>
                    <a:pt x="399" y="52"/>
                  </a:lnTo>
                  <a:lnTo>
                    <a:pt x="414" y="46"/>
                  </a:lnTo>
                  <a:lnTo>
                    <a:pt x="421" y="42"/>
                  </a:lnTo>
                  <a:lnTo>
                    <a:pt x="421" y="0"/>
                  </a:lnTo>
                  <a:lnTo>
                    <a:pt x="410" y="4"/>
                  </a:lnTo>
                  <a:lnTo>
                    <a:pt x="399" y="8"/>
                  </a:lnTo>
                  <a:lnTo>
                    <a:pt x="386" y="12"/>
                  </a:lnTo>
                  <a:lnTo>
                    <a:pt x="373" y="14"/>
                  </a:lnTo>
                  <a:lnTo>
                    <a:pt x="344" y="19"/>
                  </a:lnTo>
                  <a:lnTo>
                    <a:pt x="314" y="24"/>
                  </a:lnTo>
                  <a:lnTo>
                    <a:pt x="284" y="27"/>
                  </a:lnTo>
                  <a:lnTo>
                    <a:pt x="256" y="28"/>
                  </a:lnTo>
                  <a:lnTo>
                    <a:pt x="231" y="29"/>
                  </a:lnTo>
                  <a:lnTo>
                    <a:pt x="211" y="30"/>
                  </a:lnTo>
                  <a:lnTo>
                    <a:pt x="191" y="29"/>
                  </a:lnTo>
                  <a:lnTo>
                    <a:pt x="166" y="28"/>
                  </a:lnTo>
                  <a:lnTo>
                    <a:pt x="138" y="27"/>
                  </a:lnTo>
                  <a:lnTo>
                    <a:pt x="108" y="24"/>
                  </a:lnTo>
                  <a:lnTo>
                    <a:pt x="78" y="19"/>
                  </a:lnTo>
                  <a:lnTo>
                    <a:pt x="49" y="15"/>
                  </a:lnTo>
                  <a:lnTo>
                    <a:pt x="35" y="12"/>
                  </a:lnTo>
                  <a:lnTo>
                    <a:pt x="22" y="8"/>
                  </a:lnTo>
                  <a:lnTo>
                    <a:pt x="10" y="4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502">
              <a:extLst>
                <a:ext uri="{FF2B5EF4-FFF2-40B4-BE49-F238E27FC236}">
                  <a16:creationId xmlns:a16="http://schemas.microsoft.com/office/drawing/2014/main" id="{BA8F70E0-0E3E-4814-86F1-662F8F25BDE3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6025" y="1574800"/>
              <a:ext cx="133350" cy="23813"/>
            </a:xfrm>
            <a:custGeom>
              <a:avLst/>
              <a:gdLst>
                <a:gd name="T0" fmla="*/ 0 w 421"/>
                <a:gd name="T1" fmla="*/ 0 h 75"/>
                <a:gd name="T2" fmla="*/ 0 w 421"/>
                <a:gd name="T3" fmla="*/ 42 h 75"/>
                <a:gd name="T4" fmla="*/ 8 w 421"/>
                <a:gd name="T5" fmla="*/ 48 h 75"/>
                <a:gd name="T6" fmla="*/ 22 w 421"/>
                <a:gd name="T7" fmla="*/ 53 h 75"/>
                <a:gd name="T8" fmla="*/ 43 w 421"/>
                <a:gd name="T9" fmla="*/ 58 h 75"/>
                <a:gd name="T10" fmla="*/ 67 w 421"/>
                <a:gd name="T11" fmla="*/ 64 h 75"/>
                <a:gd name="T12" fmla="*/ 97 w 421"/>
                <a:gd name="T13" fmla="*/ 68 h 75"/>
                <a:gd name="T14" fmla="*/ 130 w 421"/>
                <a:gd name="T15" fmla="*/ 72 h 75"/>
                <a:gd name="T16" fmla="*/ 169 w 421"/>
                <a:gd name="T17" fmla="*/ 74 h 75"/>
                <a:gd name="T18" fmla="*/ 211 w 421"/>
                <a:gd name="T19" fmla="*/ 75 h 75"/>
                <a:gd name="T20" fmla="*/ 253 w 421"/>
                <a:gd name="T21" fmla="*/ 74 h 75"/>
                <a:gd name="T22" fmla="*/ 290 w 421"/>
                <a:gd name="T23" fmla="*/ 72 h 75"/>
                <a:gd name="T24" fmla="*/ 325 w 421"/>
                <a:gd name="T25" fmla="*/ 68 h 75"/>
                <a:gd name="T26" fmla="*/ 355 w 421"/>
                <a:gd name="T27" fmla="*/ 64 h 75"/>
                <a:gd name="T28" fmla="*/ 379 w 421"/>
                <a:gd name="T29" fmla="*/ 58 h 75"/>
                <a:gd name="T30" fmla="*/ 399 w 421"/>
                <a:gd name="T31" fmla="*/ 53 h 75"/>
                <a:gd name="T32" fmla="*/ 414 w 421"/>
                <a:gd name="T33" fmla="*/ 48 h 75"/>
                <a:gd name="T34" fmla="*/ 421 w 421"/>
                <a:gd name="T35" fmla="*/ 42 h 75"/>
                <a:gd name="T36" fmla="*/ 421 w 421"/>
                <a:gd name="T37" fmla="*/ 0 h 75"/>
                <a:gd name="T38" fmla="*/ 410 w 421"/>
                <a:gd name="T39" fmla="*/ 5 h 75"/>
                <a:gd name="T40" fmla="*/ 399 w 421"/>
                <a:gd name="T41" fmla="*/ 9 h 75"/>
                <a:gd name="T42" fmla="*/ 386 w 421"/>
                <a:gd name="T43" fmla="*/ 12 h 75"/>
                <a:gd name="T44" fmla="*/ 373 w 421"/>
                <a:gd name="T45" fmla="*/ 15 h 75"/>
                <a:gd name="T46" fmla="*/ 344 w 421"/>
                <a:gd name="T47" fmla="*/ 21 h 75"/>
                <a:gd name="T48" fmla="*/ 314 w 421"/>
                <a:gd name="T49" fmla="*/ 24 h 75"/>
                <a:gd name="T50" fmla="*/ 284 w 421"/>
                <a:gd name="T51" fmla="*/ 27 h 75"/>
                <a:gd name="T52" fmla="*/ 256 w 421"/>
                <a:gd name="T53" fmla="*/ 29 h 75"/>
                <a:gd name="T54" fmla="*/ 231 w 421"/>
                <a:gd name="T55" fmla="*/ 30 h 75"/>
                <a:gd name="T56" fmla="*/ 211 w 421"/>
                <a:gd name="T57" fmla="*/ 30 h 75"/>
                <a:gd name="T58" fmla="*/ 191 w 421"/>
                <a:gd name="T59" fmla="*/ 30 h 75"/>
                <a:gd name="T60" fmla="*/ 166 w 421"/>
                <a:gd name="T61" fmla="*/ 29 h 75"/>
                <a:gd name="T62" fmla="*/ 138 w 421"/>
                <a:gd name="T63" fmla="*/ 27 h 75"/>
                <a:gd name="T64" fmla="*/ 108 w 421"/>
                <a:gd name="T65" fmla="*/ 24 h 75"/>
                <a:gd name="T66" fmla="*/ 78 w 421"/>
                <a:gd name="T67" fmla="*/ 21 h 75"/>
                <a:gd name="T68" fmla="*/ 49 w 421"/>
                <a:gd name="T69" fmla="*/ 15 h 75"/>
                <a:gd name="T70" fmla="*/ 35 w 421"/>
                <a:gd name="T71" fmla="*/ 12 h 75"/>
                <a:gd name="T72" fmla="*/ 22 w 421"/>
                <a:gd name="T73" fmla="*/ 9 h 75"/>
                <a:gd name="T74" fmla="*/ 10 w 421"/>
                <a:gd name="T75" fmla="*/ 5 h 75"/>
                <a:gd name="T76" fmla="*/ 0 w 421"/>
                <a:gd name="T77" fmla="*/ 1 h 75"/>
                <a:gd name="T78" fmla="*/ 0 w 421"/>
                <a:gd name="T79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421" h="75">
                  <a:moveTo>
                    <a:pt x="0" y="0"/>
                  </a:moveTo>
                  <a:lnTo>
                    <a:pt x="0" y="42"/>
                  </a:lnTo>
                  <a:lnTo>
                    <a:pt x="8" y="48"/>
                  </a:lnTo>
                  <a:lnTo>
                    <a:pt x="22" y="53"/>
                  </a:lnTo>
                  <a:lnTo>
                    <a:pt x="43" y="58"/>
                  </a:lnTo>
                  <a:lnTo>
                    <a:pt x="67" y="64"/>
                  </a:lnTo>
                  <a:lnTo>
                    <a:pt x="97" y="68"/>
                  </a:lnTo>
                  <a:lnTo>
                    <a:pt x="130" y="72"/>
                  </a:lnTo>
                  <a:lnTo>
                    <a:pt x="169" y="74"/>
                  </a:lnTo>
                  <a:lnTo>
                    <a:pt x="211" y="75"/>
                  </a:lnTo>
                  <a:lnTo>
                    <a:pt x="253" y="74"/>
                  </a:lnTo>
                  <a:lnTo>
                    <a:pt x="290" y="72"/>
                  </a:lnTo>
                  <a:lnTo>
                    <a:pt x="325" y="68"/>
                  </a:lnTo>
                  <a:lnTo>
                    <a:pt x="355" y="64"/>
                  </a:lnTo>
                  <a:lnTo>
                    <a:pt x="379" y="58"/>
                  </a:lnTo>
                  <a:lnTo>
                    <a:pt x="399" y="53"/>
                  </a:lnTo>
                  <a:lnTo>
                    <a:pt x="414" y="48"/>
                  </a:lnTo>
                  <a:lnTo>
                    <a:pt x="421" y="42"/>
                  </a:lnTo>
                  <a:lnTo>
                    <a:pt x="421" y="0"/>
                  </a:lnTo>
                  <a:lnTo>
                    <a:pt x="410" y="5"/>
                  </a:lnTo>
                  <a:lnTo>
                    <a:pt x="399" y="9"/>
                  </a:lnTo>
                  <a:lnTo>
                    <a:pt x="386" y="12"/>
                  </a:lnTo>
                  <a:lnTo>
                    <a:pt x="373" y="15"/>
                  </a:lnTo>
                  <a:lnTo>
                    <a:pt x="344" y="21"/>
                  </a:lnTo>
                  <a:lnTo>
                    <a:pt x="314" y="24"/>
                  </a:lnTo>
                  <a:lnTo>
                    <a:pt x="284" y="27"/>
                  </a:lnTo>
                  <a:lnTo>
                    <a:pt x="256" y="29"/>
                  </a:lnTo>
                  <a:lnTo>
                    <a:pt x="231" y="30"/>
                  </a:lnTo>
                  <a:lnTo>
                    <a:pt x="211" y="30"/>
                  </a:lnTo>
                  <a:lnTo>
                    <a:pt x="191" y="30"/>
                  </a:lnTo>
                  <a:lnTo>
                    <a:pt x="166" y="29"/>
                  </a:lnTo>
                  <a:lnTo>
                    <a:pt x="138" y="27"/>
                  </a:lnTo>
                  <a:lnTo>
                    <a:pt x="108" y="24"/>
                  </a:lnTo>
                  <a:lnTo>
                    <a:pt x="78" y="21"/>
                  </a:lnTo>
                  <a:lnTo>
                    <a:pt x="49" y="15"/>
                  </a:lnTo>
                  <a:lnTo>
                    <a:pt x="35" y="12"/>
                  </a:lnTo>
                  <a:lnTo>
                    <a:pt x="22" y="9"/>
                  </a:lnTo>
                  <a:lnTo>
                    <a:pt x="10" y="5"/>
                  </a:ln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503">
              <a:extLst>
                <a:ext uri="{FF2B5EF4-FFF2-40B4-BE49-F238E27FC236}">
                  <a16:creationId xmlns:a16="http://schemas.microsoft.com/office/drawing/2014/main" id="{FA66968F-1ADF-46EC-B5D1-8A09A76F284D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6025" y="1550988"/>
              <a:ext cx="133350" cy="23813"/>
            </a:xfrm>
            <a:custGeom>
              <a:avLst/>
              <a:gdLst>
                <a:gd name="T0" fmla="*/ 0 w 421"/>
                <a:gd name="T1" fmla="*/ 0 h 75"/>
                <a:gd name="T2" fmla="*/ 0 w 421"/>
                <a:gd name="T3" fmla="*/ 42 h 75"/>
                <a:gd name="T4" fmla="*/ 8 w 421"/>
                <a:gd name="T5" fmla="*/ 47 h 75"/>
                <a:gd name="T6" fmla="*/ 22 w 421"/>
                <a:gd name="T7" fmla="*/ 53 h 75"/>
                <a:gd name="T8" fmla="*/ 43 w 421"/>
                <a:gd name="T9" fmla="*/ 58 h 75"/>
                <a:gd name="T10" fmla="*/ 67 w 421"/>
                <a:gd name="T11" fmla="*/ 64 h 75"/>
                <a:gd name="T12" fmla="*/ 97 w 421"/>
                <a:gd name="T13" fmla="*/ 68 h 75"/>
                <a:gd name="T14" fmla="*/ 130 w 421"/>
                <a:gd name="T15" fmla="*/ 72 h 75"/>
                <a:gd name="T16" fmla="*/ 169 w 421"/>
                <a:gd name="T17" fmla="*/ 74 h 75"/>
                <a:gd name="T18" fmla="*/ 211 w 421"/>
                <a:gd name="T19" fmla="*/ 75 h 75"/>
                <a:gd name="T20" fmla="*/ 253 w 421"/>
                <a:gd name="T21" fmla="*/ 74 h 75"/>
                <a:gd name="T22" fmla="*/ 290 w 421"/>
                <a:gd name="T23" fmla="*/ 72 h 75"/>
                <a:gd name="T24" fmla="*/ 325 w 421"/>
                <a:gd name="T25" fmla="*/ 68 h 75"/>
                <a:gd name="T26" fmla="*/ 355 w 421"/>
                <a:gd name="T27" fmla="*/ 64 h 75"/>
                <a:gd name="T28" fmla="*/ 379 w 421"/>
                <a:gd name="T29" fmla="*/ 58 h 75"/>
                <a:gd name="T30" fmla="*/ 399 w 421"/>
                <a:gd name="T31" fmla="*/ 53 h 75"/>
                <a:gd name="T32" fmla="*/ 414 w 421"/>
                <a:gd name="T33" fmla="*/ 47 h 75"/>
                <a:gd name="T34" fmla="*/ 421 w 421"/>
                <a:gd name="T35" fmla="*/ 42 h 75"/>
                <a:gd name="T36" fmla="*/ 421 w 421"/>
                <a:gd name="T37" fmla="*/ 0 h 75"/>
                <a:gd name="T38" fmla="*/ 410 w 421"/>
                <a:gd name="T39" fmla="*/ 5 h 75"/>
                <a:gd name="T40" fmla="*/ 399 w 421"/>
                <a:gd name="T41" fmla="*/ 9 h 75"/>
                <a:gd name="T42" fmla="*/ 386 w 421"/>
                <a:gd name="T43" fmla="*/ 12 h 75"/>
                <a:gd name="T44" fmla="*/ 373 w 421"/>
                <a:gd name="T45" fmla="*/ 15 h 75"/>
                <a:gd name="T46" fmla="*/ 344 w 421"/>
                <a:gd name="T47" fmla="*/ 21 h 75"/>
                <a:gd name="T48" fmla="*/ 314 w 421"/>
                <a:gd name="T49" fmla="*/ 24 h 75"/>
                <a:gd name="T50" fmla="*/ 284 w 421"/>
                <a:gd name="T51" fmla="*/ 27 h 75"/>
                <a:gd name="T52" fmla="*/ 256 w 421"/>
                <a:gd name="T53" fmla="*/ 29 h 75"/>
                <a:gd name="T54" fmla="*/ 231 w 421"/>
                <a:gd name="T55" fmla="*/ 30 h 75"/>
                <a:gd name="T56" fmla="*/ 211 w 421"/>
                <a:gd name="T57" fmla="*/ 30 h 75"/>
                <a:gd name="T58" fmla="*/ 191 w 421"/>
                <a:gd name="T59" fmla="*/ 30 h 75"/>
                <a:gd name="T60" fmla="*/ 166 w 421"/>
                <a:gd name="T61" fmla="*/ 29 h 75"/>
                <a:gd name="T62" fmla="*/ 138 w 421"/>
                <a:gd name="T63" fmla="*/ 27 h 75"/>
                <a:gd name="T64" fmla="*/ 108 w 421"/>
                <a:gd name="T65" fmla="*/ 24 h 75"/>
                <a:gd name="T66" fmla="*/ 78 w 421"/>
                <a:gd name="T67" fmla="*/ 21 h 75"/>
                <a:gd name="T68" fmla="*/ 49 w 421"/>
                <a:gd name="T69" fmla="*/ 15 h 75"/>
                <a:gd name="T70" fmla="*/ 35 w 421"/>
                <a:gd name="T71" fmla="*/ 12 h 75"/>
                <a:gd name="T72" fmla="*/ 22 w 421"/>
                <a:gd name="T73" fmla="*/ 9 h 75"/>
                <a:gd name="T74" fmla="*/ 10 w 421"/>
                <a:gd name="T75" fmla="*/ 5 h 75"/>
                <a:gd name="T76" fmla="*/ 0 w 421"/>
                <a:gd name="T77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1" h="75">
                  <a:moveTo>
                    <a:pt x="0" y="0"/>
                  </a:moveTo>
                  <a:lnTo>
                    <a:pt x="0" y="42"/>
                  </a:lnTo>
                  <a:lnTo>
                    <a:pt x="8" y="47"/>
                  </a:lnTo>
                  <a:lnTo>
                    <a:pt x="22" y="53"/>
                  </a:lnTo>
                  <a:lnTo>
                    <a:pt x="43" y="58"/>
                  </a:lnTo>
                  <a:lnTo>
                    <a:pt x="67" y="64"/>
                  </a:lnTo>
                  <a:lnTo>
                    <a:pt x="97" y="68"/>
                  </a:lnTo>
                  <a:lnTo>
                    <a:pt x="130" y="72"/>
                  </a:lnTo>
                  <a:lnTo>
                    <a:pt x="169" y="74"/>
                  </a:lnTo>
                  <a:lnTo>
                    <a:pt x="211" y="75"/>
                  </a:lnTo>
                  <a:lnTo>
                    <a:pt x="253" y="74"/>
                  </a:lnTo>
                  <a:lnTo>
                    <a:pt x="290" y="72"/>
                  </a:lnTo>
                  <a:lnTo>
                    <a:pt x="325" y="68"/>
                  </a:lnTo>
                  <a:lnTo>
                    <a:pt x="355" y="64"/>
                  </a:lnTo>
                  <a:lnTo>
                    <a:pt x="379" y="58"/>
                  </a:lnTo>
                  <a:lnTo>
                    <a:pt x="399" y="53"/>
                  </a:lnTo>
                  <a:lnTo>
                    <a:pt x="414" y="47"/>
                  </a:lnTo>
                  <a:lnTo>
                    <a:pt x="421" y="42"/>
                  </a:lnTo>
                  <a:lnTo>
                    <a:pt x="421" y="0"/>
                  </a:lnTo>
                  <a:lnTo>
                    <a:pt x="410" y="5"/>
                  </a:lnTo>
                  <a:lnTo>
                    <a:pt x="399" y="9"/>
                  </a:lnTo>
                  <a:lnTo>
                    <a:pt x="386" y="12"/>
                  </a:lnTo>
                  <a:lnTo>
                    <a:pt x="373" y="15"/>
                  </a:lnTo>
                  <a:lnTo>
                    <a:pt x="344" y="21"/>
                  </a:lnTo>
                  <a:lnTo>
                    <a:pt x="314" y="24"/>
                  </a:lnTo>
                  <a:lnTo>
                    <a:pt x="284" y="27"/>
                  </a:lnTo>
                  <a:lnTo>
                    <a:pt x="256" y="29"/>
                  </a:lnTo>
                  <a:lnTo>
                    <a:pt x="231" y="30"/>
                  </a:lnTo>
                  <a:lnTo>
                    <a:pt x="211" y="30"/>
                  </a:lnTo>
                  <a:lnTo>
                    <a:pt x="191" y="30"/>
                  </a:lnTo>
                  <a:lnTo>
                    <a:pt x="166" y="29"/>
                  </a:lnTo>
                  <a:lnTo>
                    <a:pt x="138" y="27"/>
                  </a:lnTo>
                  <a:lnTo>
                    <a:pt x="108" y="24"/>
                  </a:lnTo>
                  <a:lnTo>
                    <a:pt x="78" y="21"/>
                  </a:lnTo>
                  <a:lnTo>
                    <a:pt x="49" y="15"/>
                  </a:lnTo>
                  <a:lnTo>
                    <a:pt x="35" y="12"/>
                  </a:lnTo>
                  <a:lnTo>
                    <a:pt x="22" y="9"/>
                  </a:lnTo>
                  <a:lnTo>
                    <a:pt x="10" y="5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504">
              <a:extLst>
                <a:ext uri="{FF2B5EF4-FFF2-40B4-BE49-F238E27FC236}">
                  <a16:creationId xmlns:a16="http://schemas.microsoft.com/office/drawing/2014/main" id="{5C72258C-6244-48E0-9D7F-E03A4D2F80C3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6025" y="1527175"/>
              <a:ext cx="133350" cy="23813"/>
            </a:xfrm>
            <a:custGeom>
              <a:avLst/>
              <a:gdLst>
                <a:gd name="T0" fmla="*/ 0 w 421"/>
                <a:gd name="T1" fmla="*/ 0 h 75"/>
                <a:gd name="T2" fmla="*/ 0 w 421"/>
                <a:gd name="T3" fmla="*/ 42 h 75"/>
                <a:gd name="T4" fmla="*/ 8 w 421"/>
                <a:gd name="T5" fmla="*/ 46 h 75"/>
                <a:gd name="T6" fmla="*/ 22 w 421"/>
                <a:gd name="T7" fmla="*/ 52 h 75"/>
                <a:gd name="T8" fmla="*/ 43 w 421"/>
                <a:gd name="T9" fmla="*/ 58 h 75"/>
                <a:gd name="T10" fmla="*/ 67 w 421"/>
                <a:gd name="T11" fmla="*/ 63 h 75"/>
                <a:gd name="T12" fmla="*/ 97 w 421"/>
                <a:gd name="T13" fmla="*/ 68 h 75"/>
                <a:gd name="T14" fmla="*/ 130 w 421"/>
                <a:gd name="T15" fmla="*/ 72 h 75"/>
                <a:gd name="T16" fmla="*/ 169 w 421"/>
                <a:gd name="T17" fmla="*/ 74 h 75"/>
                <a:gd name="T18" fmla="*/ 211 w 421"/>
                <a:gd name="T19" fmla="*/ 75 h 75"/>
                <a:gd name="T20" fmla="*/ 253 w 421"/>
                <a:gd name="T21" fmla="*/ 74 h 75"/>
                <a:gd name="T22" fmla="*/ 290 w 421"/>
                <a:gd name="T23" fmla="*/ 72 h 75"/>
                <a:gd name="T24" fmla="*/ 325 w 421"/>
                <a:gd name="T25" fmla="*/ 68 h 75"/>
                <a:gd name="T26" fmla="*/ 355 w 421"/>
                <a:gd name="T27" fmla="*/ 63 h 75"/>
                <a:gd name="T28" fmla="*/ 379 w 421"/>
                <a:gd name="T29" fmla="*/ 58 h 75"/>
                <a:gd name="T30" fmla="*/ 399 w 421"/>
                <a:gd name="T31" fmla="*/ 52 h 75"/>
                <a:gd name="T32" fmla="*/ 414 w 421"/>
                <a:gd name="T33" fmla="*/ 47 h 75"/>
                <a:gd name="T34" fmla="*/ 421 w 421"/>
                <a:gd name="T35" fmla="*/ 42 h 75"/>
                <a:gd name="T36" fmla="*/ 421 w 421"/>
                <a:gd name="T37" fmla="*/ 0 h 75"/>
                <a:gd name="T38" fmla="*/ 410 w 421"/>
                <a:gd name="T39" fmla="*/ 4 h 75"/>
                <a:gd name="T40" fmla="*/ 399 w 421"/>
                <a:gd name="T41" fmla="*/ 9 h 75"/>
                <a:gd name="T42" fmla="*/ 386 w 421"/>
                <a:gd name="T43" fmla="*/ 12 h 75"/>
                <a:gd name="T44" fmla="*/ 373 w 421"/>
                <a:gd name="T45" fmla="*/ 15 h 75"/>
                <a:gd name="T46" fmla="*/ 344 w 421"/>
                <a:gd name="T47" fmla="*/ 19 h 75"/>
                <a:gd name="T48" fmla="*/ 314 w 421"/>
                <a:gd name="T49" fmla="*/ 24 h 75"/>
                <a:gd name="T50" fmla="*/ 284 w 421"/>
                <a:gd name="T51" fmla="*/ 27 h 75"/>
                <a:gd name="T52" fmla="*/ 256 w 421"/>
                <a:gd name="T53" fmla="*/ 29 h 75"/>
                <a:gd name="T54" fmla="*/ 231 w 421"/>
                <a:gd name="T55" fmla="*/ 29 h 75"/>
                <a:gd name="T56" fmla="*/ 211 w 421"/>
                <a:gd name="T57" fmla="*/ 30 h 75"/>
                <a:gd name="T58" fmla="*/ 191 w 421"/>
                <a:gd name="T59" fmla="*/ 29 h 75"/>
                <a:gd name="T60" fmla="*/ 166 w 421"/>
                <a:gd name="T61" fmla="*/ 28 h 75"/>
                <a:gd name="T62" fmla="*/ 138 w 421"/>
                <a:gd name="T63" fmla="*/ 27 h 75"/>
                <a:gd name="T64" fmla="*/ 108 w 421"/>
                <a:gd name="T65" fmla="*/ 24 h 75"/>
                <a:gd name="T66" fmla="*/ 78 w 421"/>
                <a:gd name="T67" fmla="*/ 19 h 75"/>
                <a:gd name="T68" fmla="*/ 49 w 421"/>
                <a:gd name="T69" fmla="*/ 15 h 75"/>
                <a:gd name="T70" fmla="*/ 35 w 421"/>
                <a:gd name="T71" fmla="*/ 12 h 75"/>
                <a:gd name="T72" fmla="*/ 22 w 421"/>
                <a:gd name="T73" fmla="*/ 9 h 75"/>
                <a:gd name="T74" fmla="*/ 10 w 421"/>
                <a:gd name="T75" fmla="*/ 4 h 75"/>
                <a:gd name="T76" fmla="*/ 0 w 421"/>
                <a:gd name="T77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1" h="75">
                  <a:moveTo>
                    <a:pt x="0" y="0"/>
                  </a:moveTo>
                  <a:lnTo>
                    <a:pt x="0" y="42"/>
                  </a:lnTo>
                  <a:lnTo>
                    <a:pt x="8" y="46"/>
                  </a:lnTo>
                  <a:lnTo>
                    <a:pt x="22" y="52"/>
                  </a:lnTo>
                  <a:lnTo>
                    <a:pt x="43" y="58"/>
                  </a:lnTo>
                  <a:lnTo>
                    <a:pt x="67" y="63"/>
                  </a:lnTo>
                  <a:lnTo>
                    <a:pt x="97" y="68"/>
                  </a:lnTo>
                  <a:lnTo>
                    <a:pt x="130" y="72"/>
                  </a:lnTo>
                  <a:lnTo>
                    <a:pt x="169" y="74"/>
                  </a:lnTo>
                  <a:lnTo>
                    <a:pt x="211" y="75"/>
                  </a:lnTo>
                  <a:lnTo>
                    <a:pt x="253" y="74"/>
                  </a:lnTo>
                  <a:lnTo>
                    <a:pt x="290" y="72"/>
                  </a:lnTo>
                  <a:lnTo>
                    <a:pt x="325" y="68"/>
                  </a:lnTo>
                  <a:lnTo>
                    <a:pt x="355" y="63"/>
                  </a:lnTo>
                  <a:lnTo>
                    <a:pt x="379" y="58"/>
                  </a:lnTo>
                  <a:lnTo>
                    <a:pt x="399" y="52"/>
                  </a:lnTo>
                  <a:lnTo>
                    <a:pt x="414" y="47"/>
                  </a:lnTo>
                  <a:lnTo>
                    <a:pt x="421" y="42"/>
                  </a:lnTo>
                  <a:lnTo>
                    <a:pt x="421" y="0"/>
                  </a:lnTo>
                  <a:lnTo>
                    <a:pt x="410" y="4"/>
                  </a:lnTo>
                  <a:lnTo>
                    <a:pt x="399" y="9"/>
                  </a:lnTo>
                  <a:lnTo>
                    <a:pt x="386" y="12"/>
                  </a:lnTo>
                  <a:lnTo>
                    <a:pt x="373" y="15"/>
                  </a:lnTo>
                  <a:lnTo>
                    <a:pt x="344" y="19"/>
                  </a:lnTo>
                  <a:lnTo>
                    <a:pt x="314" y="24"/>
                  </a:lnTo>
                  <a:lnTo>
                    <a:pt x="284" y="27"/>
                  </a:lnTo>
                  <a:lnTo>
                    <a:pt x="256" y="29"/>
                  </a:lnTo>
                  <a:lnTo>
                    <a:pt x="231" y="29"/>
                  </a:lnTo>
                  <a:lnTo>
                    <a:pt x="211" y="30"/>
                  </a:lnTo>
                  <a:lnTo>
                    <a:pt x="191" y="29"/>
                  </a:lnTo>
                  <a:lnTo>
                    <a:pt x="166" y="28"/>
                  </a:lnTo>
                  <a:lnTo>
                    <a:pt x="138" y="27"/>
                  </a:lnTo>
                  <a:lnTo>
                    <a:pt x="108" y="24"/>
                  </a:lnTo>
                  <a:lnTo>
                    <a:pt x="78" y="19"/>
                  </a:lnTo>
                  <a:lnTo>
                    <a:pt x="49" y="15"/>
                  </a:lnTo>
                  <a:lnTo>
                    <a:pt x="35" y="12"/>
                  </a:lnTo>
                  <a:lnTo>
                    <a:pt x="22" y="9"/>
                  </a:lnTo>
                  <a:lnTo>
                    <a:pt x="10" y="4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70" name="Group 169">
            <a:extLst>
              <a:ext uri="{FF2B5EF4-FFF2-40B4-BE49-F238E27FC236}">
                <a16:creationId xmlns:a16="http://schemas.microsoft.com/office/drawing/2014/main" id="{C4124A18-15A7-4FF4-94FF-00DA953F99EB}"/>
              </a:ext>
            </a:extLst>
          </p:cNvPr>
          <p:cNvGrpSpPr/>
          <p:nvPr/>
        </p:nvGrpSpPr>
        <p:grpSpPr>
          <a:xfrm>
            <a:off x="4828496" y="1575593"/>
            <a:ext cx="287338" cy="287338"/>
            <a:chOff x="4319588" y="2492375"/>
            <a:chExt cx="287338" cy="287338"/>
          </a:xfrm>
          <a:solidFill>
            <a:schemeClr val="bg1"/>
          </a:solidFill>
        </p:grpSpPr>
        <p:sp>
          <p:nvSpPr>
            <p:cNvPr id="171" name="Freeform 372">
              <a:extLst>
                <a:ext uri="{FF2B5EF4-FFF2-40B4-BE49-F238E27FC236}">
                  <a16:creationId xmlns:a16="http://schemas.microsoft.com/office/drawing/2014/main" id="{76BBAD0E-EAC2-43BF-915B-AB73A578BB02}"/>
                </a:ext>
              </a:extLst>
            </p:cNvPr>
            <p:cNvSpPr>
              <a:spLocks/>
            </p:cNvSpPr>
            <p:nvPr/>
          </p:nvSpPr>
          <p:spPr bwMode="auto">
            <a:xfrm>
              <a:off x="4319588" y="2587625"/>
              <a:ext cx="287338" cy="192088"/>
            </a:xfrm>
            <a:custGeom>
              <a:avLst/>
              <a:gdLst>
                <a:gd name="T0" fmla="*/ 843 w 904"/>
                <a:gd name="T1" fmla="*/ 572 h 602"/>
                <a:gd name="T2" fmla="*/ 843 w 904"/>
                <a:gd name="T3" fmla="*/ 12 h 602"/>
                <a:gd name="T4" fmla="*/ 841 w 904"/>
                <a:gd name="T5" fmla="*/ 7 h 602"/>
                <a:gd name="T6" fmla="*/ 836 w 904"/>
                <a:gd name="T7" fmla="*/ 3 h 602"/>
                <a:gd name="T8" fmla="*/ 831 w 904"/>
                <a:gd name="T9" fmla="*/ 1 h 602"/>
                <a:gd name="T10" fmla="*/ 708 w 904"/>
                <a:gd name="T11" fmla="*/ 0 h 602"/>
                <a:gd name="T12" fmla="*/ 702 w 904"/>
                <a:gd name="T13" fmla="*/ 2 h 602"/>
                <a:gd name="T14" fmla="*/ 697 w 904"/>
                <a:gd name="T15" fmla="*/ 5 h 602"/>
                <a:gd name="T16" fmla="*/ 694 w 904"/>
                <a:gd name="T17" fmla="*/ 9 h 602"/>
                <a:gd name="T18" fmla="*/ 693 w 904"/>
                <a:gd name="T19" fmla="*/ 16 h 602"/>
                <a:gd name="T20" fmla="*/ 632 w 904"/>
                <a:gd name="T21" fmla="*/ 572 h 602"/>
                <a:gd name="T22" fmla="*/ 632 w 904"/>
                <a:gd name="T23" fmla="*/ 283 h 602"/>
                <a:gd name="T24" fmla="*/ 630 w 904"/>
                <a:gd name="T25" fmla="*/ 277 h 602"/>
                <a:gd name="T26" fmla="*/ 626 w 904"/>
                <a:gd name="T27" fmla="*/ 274 h 602"/>
                <a:gd name="T28" fmla="*/ 621 w 904"/>
                <a:gd name="T29" fmla="*/ 271 h 602"/>
                <a:gd name="T30" fmla="*/ 497 w 904"/>
                <a:gd name="T31" fmla="*/ 271 h 602"/>
                <a:gd name="T32" fmla="*/ 491 w 904"/>
                <a:gd name="T33" fmla="*/ 272 h 602"/>
                <a:gd name="T34" fmla="*/ 487 w 904"/>
                <a:gd name="T35" fmla="*/ 275 h 602"/>
                <a:gd name="T36" fmla="*/ 483 w 904"/>
                <a:gd name="T37" fmla="*/ 281 h 602"/>
                <a:gd name="T38" fmla="*/ 482 w 904"/>
                <a:gd name="T39" fmla="*/ 286 h 602"/>
                <a:gd name="T40" fmla="*/ 421 w 904"/>
                <a:gd name="T41" fmla="*/ 572 h 602"/>
                <a:gd name="T42" fmla="*/ 421 w 904"/>
                <a:gd name="T43" fmla="*/ 193 h 602"/>
                <a:gd name="T44" fmla="*/ 419 w 904"/>
                <a:gd name="T45" fmla="*/ 187 h 602"/>
                <a:gd name="T46" fmla="*/ 415 w 904"/>
                <a:gd name="T47" fmla="*/ 183 h 602"/>
                <a:gd name="T48" fmla="*/ 409 w 904"/>
                <a:gd name="T49" fmla="*/ 181 h 602"/>
                <a:gd name="T50" fmla="*/ 286 w 904"/>
                <a:gd name="T51" fmla="*/ 181 h 602"/>
                <a:gd name="T52" fmla="*/ 281 w 904"/>
                <a:gd name="T53" fmla="*/ 182 h 602"/>
                <a:gd name="T54" fmla="*/ 275 w 904"/>
                <a:gd name="T55" fmla="*/ 185 h 602"/>
                <a:gd name="T56" fmla="*/ 272 w 904"/>
                <a:gd name="T57" fmla="*/ 190 h 602"/>
                <a:gd name="T58" fmla="*/ 271 w 904"/>
                <a:gd name="T59" fmla="*/ 196 h 602"/>
                <a:gd name="T60" fmla="*/ 211 w 904"/>
                <a:gd name="T61" fmla="*/ 572 h 602"/>
                <a:gd name="T62" fmla="*/ 211 w 904"/>
                <a:gd name="T63" fmla="*/ 404 h 602"/>
                <a:gd name="T64" fmla="*/ 209 w 904"/>
                <a:gd name="T65" fmla="*/ 399 h 602"/>
                <a:gd name="T66" fmla="*/ 205 w 904"/>
                <a:gd name="T67" fmla="*/ 394 h 602"/>
                <a:gd name="T68" fmla="*/ 199 w 904"/>
                <a:gd name="T69" fmla="*/ 392 h 602"/>
                <a:gd name="T70" fmla="*/ 76 w 904"/>
                <a:gd name="T71" fmla="*/ 391 h 602"/>
                <a:gd name="T72" fmla="*/ 69 w 904"/>
                <a:gd name="T73" fmla="*/ 392 h 602"/>
                <a:gd name="T74" fmla="*/ 65 w 904"/>
                <a:gd name="T75" fmla="*/ 396 h 602"/>
                <a:gd name="T76" fmla="*/ 62 w 904"/>
                <a:gd name="T77" fmla="*/ 401 h 602"/>
                <a:gd name="T78" fmla="*/ 61 w 904"/>
                <a:gd name="T79" fmla="*/ 406 h 602"/>
                <a:gd name="T80" fmla="*/ 15 w 904"/>
                <a:gd name="T81" fmla="*/ 572 h 602"/>
                <a:gd name="T82" fmla="*/ 9 w 904"/>
                <a:gd name="T83" fmla="*/ 573 h 602"/>
                <a:gd name="T84" fmla="*/ 5 w 904"/>
                <a:gd name="T85" fmla="*/ 577 h 602"/>
                <a:gd name="T86" fmla="*/ 2 w 904"/>
                <a:gd name="T87" fmla="*/ 581 h 602"/>
                <a:gd name="T88" fmla="*/ 0 w 904"/>
                <a:gd name="T89" fmla="*/ 587 h 602"/>
                <a:gd name="T90" fmla="*/ 2 w 904"/>
                <a:gd name="T91" fmla="*/ 593 h 602"/>
                <a:gd name="T92" fmla="*/ 5 w 904"/>
                <a:gd name="T93" fmla="*/ 598 h 602"/>
                <a:gd name="T94" fmla="*/ 9 w 904"/>
                <a:gd name="T95" fmla="*/ 601 h 602"/>
                <a:gd name="T96" fmla="*/ 15 w 904"/>
                <a:gd name="T97" fmla="*/ 602 h 602"/>
                <a:gd name="T98" fmla="*/ 196 w 904"/>
                <a:gd name="T99" fmla="*/ 602 h 602"/>
                <a:gd name="T100" fmla="*/ 406 w 904"/>
                <a:gd name="T101" fmla="*/ 602 h 602"/>
                <a:gd name="T102" fmla="*/ 617 w 904"/>
                <a:gd name="T103" fmla="*/ 602 h 602"/>
                <a:gd name="T104" fmla="*/ 828 w 904"/>
                <a:gd name="T105" fmla="*/ 602 h 602"/>
                <a:gd name="T106" fmla="*/ 891 w 904"/>
                <a:gd name="T107" fmla="*/ 602 h 602"/>
                <a:gd name="T108" fmla="*/ 896 w 904"/>
                <a:gd name="T109" fmla="*/ 600 h 602"/>
                <a:gd name="T110" fmla="*/ 901 w 904"/>
                <a:gd name="T111" fmla="*/ 596 h 602"/>
                <a:gd name="T112" fmla="*/ 903 w 904"/>
                <a:gd name="T113" fmla="*/ 591 h 602"/>
                <a:gd name="T114" fmla="*/ 903 w 904"/>
                <a:gd name="T115" fmla="*/ 584 h 602"/>
                <a:gd name="T116" fmla="*/ 901 w 904"/>
                <a:gd name="T117" fmla="*/ 579 h 602"/>
                <a:gd name="T118" fmla="*/ 896 w 904"/>
                <a:gd name="T119" fmla="*/ 575 h 602"/>
                <a:gd name="T120" fmla="*/ 891 w 904"/>
                <a:gd name="T121" fmla="*/ 572 h 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904" h="602">
                  <a:moveTo>
                    <a:pt x="889" y="572"/>
                  </a:moveTo>
                  <a:lnTo>
                    <a:pt x="843" y="572"/>
                  </a:lnTo>
                  <a:lnTo>
                    <a:pt x="843" y="16"/>
                  </a:lnTo>
                  <a:lnTo>
                    <a:pt x="843" y="12"/>
                  </a:lnTo>
                  <a:lnTo>
                    <a:pt x="842" y="9"/>
                  </a:lnTo>
                  <a:lnTo>
                    <a:pt x="841" y="7"/>
                  </a:lnTo>
                  <a:lnTo>
                    <a:pt x="838" y="5"/>
                  </a:lnTo>
                  <a:lnTo>
                    <a:pt x="836" y="3"/>
                  </a:lnTo>
                  <a:lnTo>
                    <a:pt x="834" y="2"/>
                  </a:lnTo>
                  <a:lnTo>
                    <a:pt x="831" y="1"/>
                  </a:lnTo>
                  <a:lnTo>
                    <a:pt x="828" y="1"/>
                  </a:lnTo>
                  <a:lnTo>
                    <a:pt x="708" y="0"/>
                  </a:lnTo>
                  <a:lnTo>
                    <a:pt x="704" y="1"/>
                  </a:lnTo>
                  <a:lnTo>
                    <a:pt x="702" y="2"/>
                  </a:lnTo>
                  <a:lnTo>
                    <a:pt x="699" y="3"/>
                  </a:lnTo>
                  <a:lnTo>
                    <a:pt x="697" y="5"/>
                  </a:lnTo>
                  <a:lnTo>
                    <a:pt x="695" y="7"/>
                  </a:lnTo>
                  <a:lnTo>
                    <a:pt x="694" y="9"/>
                  </a:lnTo>
                  <a:lnTo>
                    <a:pt x="693" y="12"/>
                  </a:lnTo>
                  <a:lnTo>
                    <a:pt x="693" y="16"/>
                  </a:lnTo>
                  <a:lnTo>
                    <a:pt x="693" y="572"/>
                  </a:lnTo>
                  <a:lnTo>
                    <a:pt x="632" y="572"/>
                  </a:lnTo>
                  <a:lnTo>
                    <a:pt x="632" y="286"/>
                  </a:lnTo>
                  <a:lnTo>
                    <a:pt x="632" y="283"/>
                  </a:lnTo>
                  <a:lnTo>
                    <a:pt x="631" y="281"/>
                  </a:lnTo>
                  <a:lnTo>
                    <a:pt x="630" y="277"/>
                  </a:lnTo>
                  <a:lnTo>
                    <a:pt x="628" y="275"/>
                  </a:lnTo>
                  <a:lnTo>
                    <a:pt x="626" y="274"/>
                  </a:lnTo>
                  <a:lnTo>
                    <a:pt x="623" y="272"/>
                  </a:lnTo>
                  <a:lnTo>
                    <a:pt x="621" y="271"/>
                  </a:lnTo>
                  <a:lnTo>
                    <a:pt x="617" y="271"/>
                  </a:lnTo>
                  <a:lnTo>
                    <a:pt x="497" y="271"/>
                  </a:lnTo>
                  <a:lnTo>
                    <a:pt x="494" y="271"/>
                  </a:lnTo>
                  <a:lnTo>
                    <a:pt x="491" y="272"/>
                  </a:lnTo>
                  <a:lnTo>
                    <a:pt x="489" y="274"/>
                  </a:lnTo>
                  <a:lnTo>
                    <a:pt x="487" y="275"/>
                  </a:lnTo>
                  <a:lnTo>
                    <a:pt x="484" y="277"/>
                  </a:lnTo>
                  <a:lnTo>
                    <a:pt x="483" y="281"/>
                  </a:lnTo>
                  <a:lnTo>
                    <a:pt x="482" y="283"/>
                  </a:lnTo>
                  <a:lnTo>
                    <a:pt x="482" y="286"/>
                  </a:lnTo>
                  <a:lnTo>
                    <a:pt x="482" y="572"/>
                  </a:lnTo>
                  <a:lnTo>
                    <a:pt x="421" y="572"/>
                  </a:lnTo>
                  <a:lnTo>
                    <a:pt x="421" y="196"/>
                  </a:lnTo>
                  <a:lnTo>
                    <a:pt x="421" y="193"/>
                  </a:lnTo>
                  <a:lnTo>
                    <a:pt x="420" y="190"/>
                  </a:lnTo>
                  <a:lnTo>
                    <a:pt x="419" y="187"/>
                  </a:lnTo>
                  <a:lnTo>
                    <a:pt x="417" y="185"/>
                  </a:lnTo>
                  <a:lnTo>
                    <a:pt x="415" y="183"/>
                  </a:lnTo>
                  <a:lnTo>
                    <a:pt x="413" y="182"/>
                  </a:lnTo>
                  <a:lnTo>
                    <a:pt x="409" y="181"/>
                  </a:lnTo>
                  <a:lnTo>
                    <a:pt x="406" y="181"/>
                  </a:lnTo>
                  <a:lnTo>
                    <a:pt x="286" y="181"/>
                  </a:lnTo>
                  <a:lnTo>
                    <a:pt x="283" y="181"/>
                  </a:lnTo>
                  <a:lnTo>
                    <a:pt x="281" y="182"/>
                  </a:lnTo>
                  <a:lnTo>
                    <a:pt x="277" y="183"/>
                  </a:lnTo>
                  <a:lnTo>
                    <a:pt x="275" y="185"/>
                  </a:lnTo>
                  <a:lnTo>
                    <a:pt x="273" y="187"/>
                  </a:lnTo>
                  <a:lnTo>
                    <a:pt x="272" y="190"/>
                  </a:lnTo>
                  <a:lnTo>
                    <a:pt x="271" y="193"/>
                  </a:lnTo>
                  <a:lnTo>
                    <a:pt x="271" y="196"/>
                  </a:lnTo>
                  <a:lnTo>
                    <a:pt x="271" y="572"/>
                  </a:lnTo>
                  <a:lnTo>
                    <a:pt x="211" y="572"/>
                  </a:lnTo>
                  <a:lnTo>
                    <a:pt x="211" y="406"/>
                  </a:lnTo>
                  <a:lnTo>
                    <a:pt x="211" y="404"/>
                  </a:lnTo>
                  <a:lnTo>
                    <a:pt x="210" y="401"/>
                  </a:lnTo>
                  <a:lnTo>
                    <a:pt x="209" y="399"/>
                  </a:lnTo>
                  <a:lnTo>
                    <a:pt x="207" y="396"/>
                  </a:lnTo>
                  <a:lnTo>
                    <a:pt x="205" y="394"/>
                  </a:lnTo>
                  <a:lnTo>
                    <a:pt x="201" y="393"/>
                  </a:lnTo>
                  <a:lnTo>
                    <a:pt x="199" y="392"/>
                  </a:lnTo>
                  <a:lnTo>
                    <a:pt x="196" y="391"/>
                  </a:lnTo>
                  <a:lnTo>
                    <a:pt x="76" y="391"/>
                  </a:lnTo>
                  <a:lnTo>
                    <a:pt x="73" y="392"/>
                  </a:lnTo>
                  <a:lnTo>
                    <a:pt x="69" y="392"/>
                  </a:lnTo>
                  <a:lnTo>
                    <a:pt x="67" y="394"/>
                  </a:lnTo>
                  <a:lnTo>
                    <a:pt x="65" y="396"/>
                  </a:lnTo>
                  <a:lnTo>
                    <a:pt x="63" y="399"/>
                  </a:lnTo>
                  <a:lnTo>
                    <a:pt x="62" y="401"/>
                  </a:lnTo>
                  <a:lnTo>
                    <a:pt x="61" y="404"/>
                  </a:lnTo>
                  <a:lnTo>
                    <a:pt x="61" y="406"/>
                  </a:lnTo>
                  <a:lnTo>
                    <a:pt x="61" y="572"/>
                  </a:lnTo>
                  <a:lnTo>
                    <a:pt x="15" y="572"/>
                  </a:lnTo>
                  <a:lnTo>
                    <a:pt x="13" y="572"/>
                  </a:lnTo>
                  <a:lnTo>
                    <a:pt x="9" y="573"/>
                  </a:lnTo>
                  <a:lnTo>
                    <a:pt x="7" y="575"/>
                  </a:lnTo>
                  <a:lnTo>
                    <a:pt x="5" y="577"/>
                  </a:lnTo>
                  <a:lnTo>
                    <a:pt x="3" y="579"/>
                  </a:lnTo>
                  <a:lnTo>
                    <a:pt x="2" y="581"/>
                  </a:lnTo>
                  <a:lnTo>
                    <a:pt x="1" y="584"/>
                  </a:lnTo>
                  <a:lnTo>
                    <a:pt x="0" y="587"/>
                  </a:lnTo>
                  <a:lnTo>
                    <a:pt x="1" y="591"/>
                  </a:lnTo>
                  <a:lnTo>
                    <a:pt x="2" y="593"/>
                  </a:lnTo>
                  <a:lnTo>
                    <a:pt x="3" y="596"/>
                  </a:lnTo>
                  <a:lnTo>
                    <a:pt x="5" y="598"/>
                  </a:lnTo>
                  <a:lnTo>
                    <a:pt x="7" y="600"/>
                  </a:lnTo>
                  <a:lnTo>
                    <a:pt x="9" y="601"/>
                  </a:lnTo>
                  <a:lnTo>
                    <a:pt x="13" y="602"/>
                  </a:lnTo>
                  <a:lnTo>
                    <a:pt x="15" y="602"/>
                  </a:lnTo>
                  <a:lnTo>
                    <a:pt x="76" y="602"/>
                  </a:lnTo>
                  <a:lnTo>
                    <a:pt x="196" y="602"/>
                  </a:lnTo>
                  <a:lnTo>
                    <a:pt x="286" y="602"/>
                  </a:lnTo>
                  <a:lnTo>
                    <a:pt x="406" y="602"/>
                  </a:lnTo>
                  <a:lnTo>
                    <a:pt x="497" y="602"/>
                  </a:lnTo>
                  <a:lnTo>
                    <a:pt x="617" y="602"/>
                  </a:lnTo>
                  <a:lnTo>
                    <a:pt x="708" y="602"/>
                  </a:lnTo>
                  <a:lnTo>
                    <a:pt x="828" y="602"/>
                  </a:lnTo>
                  <a:lnTo>
                    <a:pt x="889" y="602"/>
                  </a:lnTo>
                  <a:lnTo>
                    <a:pt x="891" y="602"/>
                  </a:lnTo>
                  <a:lnTo>
                    <a:pt x="894" y="601"/>
                  </a:lnTo>
                  <a:lnTo>
                    <a:pt x="896" y="600"/>
                  </a:lnTo>
                  <a:lnTo>
                    <a:pt x="898" y="598"/>
                  </a:lnTo>
                  <a:lnTo>
                    <a:pt x="901" y="596"/>
                  </a:lnTo>
                  <a:lnTo>
                    <a:pt x="902" y="593"/>
                  </a:lnTo>
                  <a:lnTo>
                    <a:pt x="903" y="591"/>
                  </a:lnTo>
                  <a:lnTo>
                    <a:pt x="904" y="587"/>
                  </a:lnTo>
                  <a:lnTo>
                    <a:pt x="903" y="584"/>
                  </a:lnTo>
                  <a:lnTo>
                    <a:pt x="902" y="581"/>
                  </a:lnTo>
                  <a:lnTo>
                    <a:pt x="901" y="579"/>
                  </a:lnTo>
                  <a:lnTo>
                    <a:pt x="898" y="577"/>
                  </a:lnTo>
                  <a:lnTo>
                    <a:pt x="896" y="575"/>
                  </a:lnTo>
                  <a:lnTo>
                    <a:pt x="894" y="573"/>
                  </a:lnTo>
                  <a:lnTo>
                    <a:pt x="891" y="572"/>
                  </a:lnTo>
                  <a:lnTo>
                    <a:pt x="889" y="5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373">
              <a:extLst>
                <a:ext uri="{FF2B5EF4-FFF2-40B4-BE49-F238E27FC236}">
                  <a16:creationId xmlns:a16="http://schemas.microsoft.com/office/drawing/2014/main" id="{254ECB37-BCBA-4610-B946-65470118AD19}"/>
                </a:ext>
              </a:extLst>
            </p:cNvPr>
            <p:cNvSpPr>
              <a:spLocks/>
            </p:cNvSpPr>
            <p:nvPr/>
          </p:nvSpPr>
          <p:spPr bwMode="auto">
            <a:xfrm>
              <a:off x="4338638" y="2492375"/>
              <a:ext cx="252413" cy="157163"/>
            </a:xfrm>
            <a:custGeom>
              <a:avLst/>
              <a:gdLst>
                <a:gd name="T0" fmla="*/ 77 w 797"/>
                <a:gd name="T1" fmla="*/ 494 h 497"/>
                <a:gd name="T2" fmla="*/ 97 w 797"/>
                <a:gd name="T3" fmla="*/ 483 h 497"/>
                <a:gd name="T4" fmla="*/ 112 w 797"/>
                <a:gd name="T5" fmla="*/ 466 h 497"/>
                <a:gd name="T6" fmla="*/ 120 w 797"/>
                <a:gd name="T7" fmla="*/ 443 h 497"/>
                <a:gd name="T8" fmla="*/ 116 w 797"/>
                <a:gd name="T9" fmla="*/ 416 h 497"/>
                <a:gd name="T10" fmla="*/ 267 w 797"/>
                <a:gd name="T11" fmla="*/ 298 h 497"/>
                <a:gd name="T12" fmla="*/ 300 w 797"/>
                <a:gd name="T13" fmla="*/ 299 h 497"/>
                <a:gd name="T14" fmla="*/ 325 w 797"/>
                <a:gd name="T15" fmla="*/ 287 h 497"/>
                <a:gd name="T16" fmla="*/ 451 w 797"/>
                <a:gd name="T17" fmla="*/ 327 h 497"/>
                <a:gd name="T18" fmla="*/ 454 w 797"/>
                <a:gd name="T19" fmla="*/ 349 h 497"/>
                <a:gd name="T20" fmla="*/ 464 w 797"/>
                <a:gd name="T21" fmla="*/ 369 h 497"/>
                <a:gd name="T22" fmla="*/ 482 w 797"/>
                <a:gd name="T23" fmla="*/ 384 h 497"/>
                <a:gd name="T24" fmla="*/ 505 w 797"/>
                <a:gd name="T25" fmla="*/ 391 h 497"/>
                <a:gd name="T26" fmla="*/ 529 w 797"/>
                <a:gd name="T27" fmla="*/ 389 h 497"/>
                <a:gd name="T28" fmla="*/ 550 w 797"/>
                <a:gd name="T29" fmla="*/ 378 h 497"/>
                <a:gd name="T30" fmla="*/ 564 w 797"/>
                <a:gd name="T31" fmla="*/ 360 h 497"/>
                <a:gd name="T32" fmla="*/ 571 w 797"/>
                <a:gd name="T33" fmla="*/ 337 h 497"/>
                <a:gd name="T34" fmla="*/ 565 w 797"/>
                <a:gd name="T35" fmla="*/ 304 h 497"/>
                <a:gd name="T36" fmla="*/ 724 w 797"/>
                <a:gd name="T37" fmla="*/ 119 h 497"/>
                <a:gd name="T38" fmla="*/ 750 w 797"/>
                <a:gd name="T39" fmla="*/ 119 h 497"/>
                <a:gd name="T40" fmla="*/ 771 w 797"/>
                <a:gd name="T41" fmla="*/ 110 h 497"/>
                <a:gd name="T42" fmla="*/ 787 w 797"/>
                <a:gd name="T43" fmla="*/ 94 h 497"/>
                <a:gd name="T44" fmla="*/ 796 w 797"/>
                <a:gd name="T45" fmla="*/ 72 h 497"/>
                <a:gd name="T46" fmla="*/ 796 w 797"/>
                <a:gd name="T47" fmla="*/ 48 h 497"/>
                <a:gd name="T48" fmla="*/ 787 w 797"/>
                <a:gd name="T49" fmla="*/ 27 h 497"/>
                <a:gd name="T50" fmla="*/ 771 w 797"/>
                <a:gd name="T51" fmla="*/ 10 h 497"/>
                <a:gd name="T52" fmla="*/ 750 w 797"/>
                <a:gd name="T53" fmla="*/ 1 h 497"/>
                <a:gd name="T54" fmla="*/ 725 w 797"/>
                <a:gd name="T55" fmla="*/ 1 h 497"/>
                <a:gd name="T56" fmla="*/ 703 w 797"/>
                <a:gd name="T57" fmla="*/ 10 h 497"/>
                <a:gd name="T58" fmla="*/ 687 w 797"/>
                <a:gd name="T59" fmla="*/ 27 h 497"/>
                <a:gd name="T60" fmla="*/ 678 w 797"/>
                <a:gd name="T61" fmla="*/ 48 h 497"/>
                <a:gd name="T62" fmla="*/ 680 w 797"/>
                <a:gd name="T63" fmla="*/ 79 h 497"/>
                <a:gd name="T64" fmla="*/ 531 w 797"/>
                <a:gd name="T65" fmla="*/ 275 h 497"/>
                <a:gd name="T66" fmla="*/ 504 w 797"/>
                <a:gd name="T67" fmla="*/ 272 h 497"/>
                <a:gd name="T68" fmla="*/ 478 w 797"/>
                <a:gd name="T69" fmla="*/ 281 h 497"/>
                <a:gd name="T70" fmla="*/ 345 w 797"/>
                <a:gd name="T71" fmla="*/ 248 h 497"/>
                <a:gd name="T72" fmla="*/ 344 w 797"/>
                <a:gd name="T73" fmla="*/ 229 h 497"/>
                <a:gd name="T74" fmla="*/ 336 w 797"/>
                <a:gd name="T75" fmla="*/ 207 h 497"/>
                <a:gd name="T76" fmla="*/ 319 w 797"/>
                <a:gd name="T77" fmla="*/ 191 h 497"/>
                <a:gd name="T78" fmla="*/ 298 w 797"/>
                <a:gd name="T79" fmla="*/ 181 h 497"/>
                <a:gd name="T80" fmla="*/ 273 w 797"/>
                <a:gd name="T81" fmla="*/ 181 h 497"/>
                <a:gd name="T82" fmla="*/ 252 w 797"/>
                <a:gd name="T83" fmla="*/ 191 h 497"/>
                <a:gd name="T84" fmla="*/ 236 w 797"/>
                <a:gd name="T85" fmla="*/ 207 h 497"/>
                <a:gd name="T86" fmla="*/ 226 w 797"/>
                <a:gd name="T87" fmla="*/ 229 h 497"/>
                <a:gd name="T88" fmla="*/ 227 w 797"/>
                <a:gd name="T89" fmla="*/ 254 h 497"/>
                <a:gd name="T90" fmla="*/ 86 w 797"/>
                <a:gd name="T91" fmla="*/ 382 h 497"/>
                <a:gd name="T92" fmla="*/ 53 w 797"/>
                <a:gd name="T93" fmla="*/ 377 h 497"/>
                <a:gd name="T94" fmla="*/ 31 w 797"/>
                <a:gd name="T95" fmla="*/ 383 h 497"/>
                <a:gd name="T96" fmla="*/ 13 w 797"/>
                <a:gd name="T97" fmla="*/ 398 h 497"/>
                <a:gd name="T98" fmla="*/ 2 w 797"/>
                <a:gd name="T99" fmla="*/ 419 h 497"/>
                <a:gd name="T100" fmla="*/ 0 w 797"/>
                <a:gd name="T101" fmla="*/ 443 h 497"/>
                <a:gd name="T102" fmla="*/ 6 w 797"/>
                <a:gd name="T103" fmla="*/ 466 h 497"/>
                <a:gd name="T104" fmla="*/ 21 w 797"/>
                <a:gd name="T105" fmla="*/ 483 h 497"/>
                <a:gd name="T106" fmla="*/ 42 w 797"/>
                <a:gd name="T107" fmla="*/ 494 h 4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797" h="497">
                  <a:moveTo>
                    <a:pt x="60" y="497"/>
                  </a:moveTo>
                  <a:lnTo>
                    <a:pt x="65" y="497"/>
                  </a:lnTo>
                  <a:lnTo>
                    <a:pt x="72" y="496"/>
                  </a:lnTo>
                  <a:lnTo>
                    <a:pt x="77" y="494"/>
                  </a:lnTo>
                  <a:lnTo>
                    <a:pt x="83" y="493"/>
                  </a:lnTo>
                  <a:lnTo>
                    <a:pt x="89" y="489"/>
                  </a:lnTo>
                  <a:lnTo>
                    <a:pt x="93" y="486"/>
                  </a:lnTo>
                  <a:lnTo>
                    <a:pt x="97" y="483"/>
                  </a:lnTo>
                  <a:lnTo>
                    <a:pt x="102" y="480"/>
                  </a:lnTo>
                  <a:lnTo>
                    <a:pt x="106" y="475"/>
                  </a:lnTo>
                  <a:lnTo>
                    <a:pt x="109" y="470"/>
                  </a:lnTo>
                  <a:lnTo>
                    <a:pt x="112" y="466"/>
                  </a:lnTo>
                  <a:lnTo>
                    <a:pt x="115" y="460"/>
                  </a:lnTo>
                  <a:lnTo>
                    <a:pt x="117" y="455"/>
                  </a:lnTo>
                  <a:lnTo>
                    <a:pt x="119" y="449"/>
                  </a:lnTo>
                  <a:lnTo>
                    <a:pt x="120" y="443"/>
                  </a:lnTo>
                  <a:lnTo>
                    <a:pt x="120" y="437"/>
                  </a:lnTo>
                  <a:lnTo>
                    <a:pt x="119" y="429"/>
                  </a:lnTo>
                  <a:lnTo>
                    <a:pt x="118" y="423"/>
                  </a:lnTo>
                  <a:lnTo>
                    <a:pt x="116" y="416"/>
                  </a:lnTo>
                  <a:lnTo>
                    <a:pt x="114" y="410"/>
                  </a:lnTo>
                  <a:lnTo>
                    <a:pt x="251" y="290"/>
                  </a:lnTo>
                  <a:lnTo>
                    <a:pt x="259" y="295"/>
                  </a:lnTo>
                  <a:lnTo>
                    <a:pt x="267" y="298"/>
                  </a:lnTo>
                  <a:lnTo>
                    <a:pt x="277" y="301"/>
                  </a:lnTo>
                  <a:lnTo>
                    <a:pt x="285" y="302"/>
                  </a:lnTo>
                  <a:lnTo>
                    <a:pt x="293" y="301"/>
                  </a:lnTo>
                  <a:lnTo>
                    <a:pt x="300" y="299"/>
                  </a:lnTo>
                  <a:lnTo>
                    <a:pt x="307" y="297"/>
                  </a:lnTo>
                  <a:lnTo>
                    <a:pt x="313" y="294"/>
                  </a:lnTo>
                  <a:lnTo>
                    <a:pt x="318" y="291"/>
                  </a:lnTo>
                  <a:lnTo>
                    <a:pt x="325" y="287"/>
                  </a:lnTo>
                  <a:lnTo>
                    <a:pt x="329" y="282"/>
                  </a:lnTo>
                  <a:lnTo>
                    <a:pt x="333" y="277"/>
                  </a:lnTo>
                  <a:lnTo>
                    <a:pt x="451" y="324"/>
                  </a:lnTo>
                  <a:lnTo>
                    <a:pt x="451" y="327"/>
                  </a:lnTo>
                  <a:lnTo>
                    <a:pt x="451" y="332"/>
                  </a:lnTo>
                  <a:lnTo>
                    <a:pt x="451" y="337"/>
                  </a:lnTo>
                  <a:lnTo>
                    <a:pt x="452" y="343"/>
                  </a:lnTo>
                  <a:lnTo>
                    <a:pt x="454" y="349"/>
                  </a:lnTo>
                  <a:lnTo>
                    <a:pt x="456" y="354"/>
                  </a:lnTo>
                  <a:lnTo>
                    <a:pt x="458" y="360"/>
                  </a:lnTo>
                  <a:lnTo>
                    <a:pt x="461" y="365"/>
                  </a:lnTo>
                  <a:lnTo>
                    <a:pt x="464" y="369"/>
                  </a:lnTo>
                  <a:lnTo>
                    <a:pt x="469" y="374"/>
                  </a:lnTo>
                  <a:lnTo>
                    <a:pt x="473" y="378"/>
                  </a:lnTo>
                  <a:lnTo>
                    <a:pt x="477" y="381"/>
                  </a:lnTo>
                  <a:lnTo>
                    <a:pt x="482" y="384"/>
                  </a:lnTo>
                  <a:lnTo>
                    <a:pt x="488" y="386"/>
                  </a:lnTo>
                  <a:lnTo>
                    <a:pt x="493" y="389"/>
                  </a:lnTo>
                  <a:lnTo>
                    <a:pt x="499" y="391"/>
                  </a:lnTo>
                  <a:lnTo>
                    <a:pt x="505" y="391"/>
                  </a:lnTo>
                  <a:lnTo>
                    <a:pt x="511" y="392"/>
                  </a:lnTo>
                  <a:lnTo>
                    <a:pt x="518" y="391"/>
                  </a:lnTo>
                  <a:lnTo>
                    <a:pt x="523" y="391"/>
                  </a:lnTo>
                  <a:lnTo>
                    <a:pt x="529" y="389"/>
                  </a:lnTo>
                  <a:lnTo>
                    <a:pt x="535" y="386"/>
                  </a:lnTo>
                  <a:lnTo>
                    <a:pt x="540" y="384"/>
                  </a:lnTo>
                  <a:lnTo>
                    <a:pt x="545" y="381"/>
                  </a:lnTo>
                  <a:lnTo>
                    <a:pt x="550" y="378"/>
                  </a:lnTo>
                  <a:lnTo>
                    <a:pt x="553" y="374"/>
                  </a:lnTo>
                  <a:lnTo>
                    <a:pt x="558" y="369"/>
                  </a:lnTo>
                  <a:lnTo>
                    <a:pt x="561" y="365"/>
                  </a:lnTo>
                  <a:lnTo>
                    <a:pt x="564" y="360"/>
                  </a:lnTo>
                  <a:lnTo>
                    <a:pt x="567" y="354"/>
                  </a:lnTo>
                  <a:lnTo>
                    <a:pt x="568" y="349"/>
                  </a:lnTo>
                  <a:lnTo>
                    <a:pt x="570" y="343"/>
                  </a:lnTo>
                  <a:lnTo>
                    <a:pt x="571" y="337"/>
                  </a:lnTo>
                  <a:lnTo>
                    <a:pt x="571" y="332"/>
                  </a:lnTo>
                  <a:lnTo>
                    <a:pt x="570" y="322"/>
                  </a:lnTo>
                  <a:lnTo>
                    <a:pt x="568" y="312"/>
                  </a:lnTo>
                  <a:lnTo>
                    <a:pt x="565" y="304"/>
                  </a:lnTo>
                  <a:lnTo>
                    <a:pt x="560" y="296"/>
                  </a:lnTo>
                  <a:lnTo>
                    <a:pt x="711" y="114"/>
                  </a:lnTo>
                  <a:lnTo>
                    <a:pt x="717" y="117"/>
                  </a:lnTo>
                  <a:lnTo>
                    <a:pt x="724" y="119"/>
                  </a:lnTo>
                  <a:lnTo>
                    <a:pt x="730" y="120"/>
                  </a:lnTo>
                  <a:lnTo>
                    <a:pt x="737" y="120"/>
                  </a:lnTo>
                  <a:lnTo>
                    <a:pt x="743" y="120"/>
                  </a:lnTo>
                  <a:lnTo>
                    <a:pt x="750" y="119"/>
                  </a:lnTo>
                  <a:lnTo>
                    <a:pt x="755" y="118"/>
                  </a:lnTo>
                  <a:lnTo>
                    <a:pt x="760" y="116"/>
                  </a:lnTo>
                  <a:lnTo>
                    <a:pt x="766" y="113"/>
                  </a:lnTo>
                  <a:lnTo>
                    <a:pt x="771" y="110"/>
                  </a:lnTo>
                  <a:lnTo>
                    <a:pt x="775" y="106"/>
                  </a:lnTo>
                  <a:lnTo>
                    <a:pt x="780" y="103"/>
                  </a:lnTo>
                  <a:lnTo>
                    <a:pt x="784" y="99"/>
                  </a:lnTo>
                  <a:lnTo>
                    <a:pt x="787" y="94"/>
                  </a:lnTo>
                  <a:lnTo>
                    <a:pt x="790" y="89"/>
                  </a:lnTo>
                  <a:lnTo>
                    <a:pt x="792" y="84"/>
                  </a:lnTo>
                  <a:lnTo>
                    <a:pt x="795" y="79"/>
                  </a:lnTo>
                  <a:lnTo>
                    <a:pt x="796" y="72"/>
                  </a:lnTo>
                  <a:lnTo>
                    <a:pt x="797" y="67"/>
                  </a:lnTo>
                  <a:lnTo>
                    <a:pt x="797" y="60"/>
                  </a:lnTo>
                  <a:lnTo>
                    <a:pt x="797" y="54"/>
                  </a:lnTo>
                  <a:lnTo>
                    <a:pt x="796" y="48"/>
                  </a:lnTo>
                  <a:lnTo>
                    <a:pt x="795" y="42"/>
                  </a:lnTo>
                  <a:lnTo>
                    <a:pt x="792" y="37"/>
                  </a:lnTo>
                  <a:lnTo>
                    <a:pt x="790" y="31"/>
                  </a:lnTo>
                  <a:lnTo>
                    <a:pt x="787" y="27"/>
                  </a:lnTo>
                  <a:lnTo>
                    <a:pt x="784" y="22"/>
                  </a:lnTo>
                  <a:lnTo>
                    <a:pt x="780" y="17"/>
                  </a:lnTo>
                  <a:lnTo>
                    <a:pt x="775" y="14"/>
                  </a:lnTo>
                  <a:lnTo>
                    <a:pt x="771" y="10"/>
                  </a:lnTo>
                  <a:lnTo>
                    <a:pt x="766" y="8"/>
                  </a:lnTo>
                  <a:lnTo>
                    <a:pt x="760" y="5"/>
                  </a:lnTo>
                  <a:lnTo>
                    <a:pt x="755" y="2"/>
                  </a:lnTo>
                  <a:lnTo>
                    <a:pt x="750" y="1"/>
                  </a:lnTo>
                  <a:lnTo>
                    <a:pt x="743" y="0"/>
                  </a:lnTo>
                  <a:lnTo>
                    <a:pt x="737" y="0"/>
                  </a:lnTo>
                  <a:lnTo>
                    <a:pt x="731" y="0"/>
                  </a:lnTo>
                  <a:lnTo>
                    <a:pt x="725" y="1"/>
                  </a:lnTo>
                  <a:lnTo>
                    <a:pt x="719" y="2"/>
                  </a:lnTo>
                  <a:lnTo>
                    <a:pt x="713" y="5"/>
                  </a:lnTo>
                  <a:lnTo>
                    <a:pt x="709" y="8"/>
                  </a:lnTo>
                  <a:lnTo>
                    <a:pt x="703" y="10"/>
                  </a:lnTo>
                  <a:lnTo>
                    <a:pt x="699" y="14"/>
                  </a:lnTo>
                  <a:lnTo>
                    <a:pt x="695" y="17"/>
                  </a:lnTo>
                  <a:lnTo>
                    <a:pt x="691" y="22"/>
                  </a:lnTo>
                  <a:lnTo>
                    <a:pt x="687" y="27"/>
                  </a:lnTo>
                  <a:lnTo>
                    <a:pt x="684" y="31"/>
                  </a:lnTo>
                  <a:lnTo>
                    <a:pt x="682" y="37"/>
                  </a:lnTo>
                  <a:lnTo>
                    <a:pt x="680" y="42"/>
                  </a:lnTo>
                  <a:lnTo>
                    <a:pt x="678" y="48"/>
                  </a:lnTo>
                  <a:lnTo>
                    <a:pt x="677" y="54"/>
                  </a:lnTo>
                  <a:lnTo>
                    <a:pt x="677" y="60"/>
                  </a:lnTo>
                  <a:lnTo>
                    <a:pt x="678" y="70"/>
                  </a:lnTo>
                  <a:lnTo>
                    <a:pt x="680" y="79"/>
                  </a:lnTo>
                  <a:lnTo>
                    <a:pt x="683" y="87"/>
                  </a:lnTo>
                  <a:lnTo>
                    <a:pt x="688" y="96"/>
                  </a:lnTo>
                  <a:lnTo>
                    <a:pt x="537" y="277"/>
                  </a:lnTo>
                  <a:lnTo>
                    <a:pt x="531" y="275"/>
                  </a:lnTo>
                  <a:lnTo>
                    <a:pt x="524" y="273"/>
                  </a:lnTo>
                  <a:lnTo>
                    <a:pt x="518" y="272"/>
                  </a:lnTo>
                  <a:lnTo>
                    <a:pt x="511" y="271"/>
                  </a:lnTo>
                  <a:lnTo>
                    <a:pt x="504" y="272"/>
                  </a:lnTo>
                  <a:lnTo>
                    <a:pt x="496" y="273"/>
                  </a:lnTo>
                  <a:lnTo>
                    <a:pt x="490" y="275"/>
                  </a:lnTo>
                  <a:lnTo>
                    <a:pt x="484" y="278"/>
                  </a:lnTo>
                  <a:lnTo>
                    <a:pt x="478" y="281"/>
                  </a:lnTo>
                  <a:lnTo>
                    <a:pt x="472" y="286"/>
                  </a:lnTo>
                  <a:lnTo>
                    <a:pt x="467" y="291"/>
                  </a:lnTo>
                  <a:lnTo>
                    <a:pt x="463" y="295"/>
                  </a:lnTo>
                  <a:lnTo>
                    <a:pt x="345" y="248"/>
                  </a:lnTo>
                  <a:lnTo>
                    <a:pt x="345" y="245"/>
                  </a:lnTo>
                  <a:lnTo>
                    <a:pt x="345" y="240"/>
                  </a:lnTo>
                  <a:lnTo>
                    <a:pt x="345" y="235"/>
                  </a:lnTo>
                  <a:lnTo>
                    <a:pt x="344" y="229"/>
                  </a:lnTo>
                  <a:lnTo>
                    <a:pt x="343" y="223"/>
                  </a:lnTo>
                  <a:lnTo>
                    <a:pt x="341" y="218"/>
                  </a:lnTo>
                  <a:lnTo>
                    <a:pt x="339" y="213"/>
                  </a:lnTo>
                  <a:lnTo>
                    <a:pt x="336" y="207"/>
                  </a:lnTo>
                  <a:lnTo>
                    <a:pt x="332" y="203"/>
                  </a:lnTo>
                  <a:lnTo>
                    <a:pt x="328" y="199"/>
                  </a:lnTo>
                  <a:lnTo>
                    <a:pt x="324" y="194"/>
                  </a:lnTo>
                  <a:lnTo>
                    <a:pt x="319" y="191"/>
                  </a:lnTo>
                  <a:lnTo>
                    <a:pt x="314" y="188"/>
                  </a:lnTo>
                  <a:lnTo>
                    <a:pt x="309" y="186"/>
                  </a:lnTo>
                  <a:lnTo>
                    <a:pt x="303" y="184"/>
                  </a:lnTo>
                  <a:lnTo>
                    <a:pt x="298" y="181"/>
                  </a:lnTo>
                  <a:lnTo>
                    <a:pt x="292" y="181"/>
                  </a:lnTo>
                  <a:lnTo>
                    <a:pt x="285" y="180"/>
                  </a:lnTo>
                  <a:lnTo>
                    <a:pt x="280" y="181"/>
                  </a:lnTo>
                  <a:lnTo>
                    <a:pt x="273" y="181"/>
                  </a:lnTo>
                  <a:lnTo>
                    <a:pt x="268" y="184"/>
                  </a:lnTo>
                  <a:lnTo>
                    <a:pt x="262" y="186"/>
                  </a:lnTo>
                  <a:lnTo>
                    <a:pt x="257" y="188"/>
                  </a:lnTo>
                  <a:lnTo>
                    <a:pt x="252" y="191"/>
                  </a:lnTo>
                  <a:lnTo>
                    <a:pt x="248" y="194"/>
                  </a:lnTo>
                  <a:lnTo>
                    <a:pt x="243" y="199"/>
                  </a:lnTo>
                  <a:lnTo>
                    <a:pt x="239" y="203"/>
                  </a:lnTo>
                  <a:lnTo>
                    <a:pt x="236" y="207"/>
                  </a:lnTo>
                  <a:lnTo>
                    <a:pt x="233" y="213"/>
                  </a:lnTo>
                  <a:lnTo>
                    <a:pt x="230" y="218"/>
                  </a:lnTo>
                  <a:lnTo>
                    <a:pt x="228" y="223"/>
                  </a:lnTo>
                  <a:lnTo>
                    <a:pt x="226" y="229"/>
                  </a:lnTo>
                  <a:lnTo>
                    <a:pt x="225" y="235"/>
                  </a:lnTo>
                  <a:lnTo>
                    <a:pt x="225" y="240"/>
                  </a:lnTo>
                  <a:lnTo>
                    <a:pt x="226" y="248"/>
                  </a:lnTo>
                  <a:lnTo>
                    <a:pt x="227" y="254"/>
                  </a:lnTo>
                  <a:lnTo>
                    <a:pt x="229" y="261"/>
                  </a:lnTo>
                  <a:lnTo>
                    <a:pt x="231" y="267"/>
                  </a:lnTo>
                  <a:lnTo>
                    <a:pt x="94" y="387"/>
                  </a:lnTo>
                  <a:lnTo>
                    <a:pt x="86" y="382"/>
                  </a:lnTo>
                  <a:lnTo>
                    <a:pt x="78" y="379"/>
                  </a:lnTo>
                  <a:lnTo>
                    <a:pt x="68" y="377"/>
                  </a:lnTo>
                  <a:lnTo>
                    <a:pt x="60" y="377"/>
                  </a:lnTo>
                  <a:lnTo>
                    <a:pt x="53" y="377"/>
                  </a:lnTo>
                  <a:lnTo>
                    <a:pt x="47" y="378"/>
                  </a:lnTo>
                  <a:lnTo>
                    <a:pt x="42" y="379"/>
                  </a:lnTo>
                  <a:lnTo>
                    <a:pt x="36" y="381"/>
                  </a:lnTo>
                  <a:lnTo>
                    <a:pt x="31" y="383"/>
                  </a:lnTo>
                  <a:lnTo>
                    <a:pt x="26" y="386"/>
                  </a:lnTo>
                  <a:lnTo>
                    <a:pt x="21" y="391"/>
                  </a:lnTo>
                  <a:lnTo>
                    <a:pt x="17" y="394"/>
                  </a:lnTo>
                  <a:lnTo>
                    <a:pt x="13" y="398"/>
                  </a:lnTo>
                  <a:lnTo>
                    <a:pt x="9" y="402"/>
                  </a:lnTo>
                  <a:lnTo>
                    <a:pt x="6" y="408"/>
                  </a:lnTo>
                  <a:lnTo>
                    <a:pt x="4" y="413"/>
                  </a:lnTo>
                  <a:lnTo>
                    <a:pt x="2" y="419"/>
                  </a:lnTo>
                  <a:lnTo>
                    <a:pt x="1" y="425"/>
                  </a:lnTo>
                  <a:lnTo>
                    <a:pt x="0" y="430"/>
                  </a:lnTo>
                  <a:lnTo>
                    <a:pt x="0" y="437"/>
                  </a:lnTo>
                  <a:lnTo>
                    <a:pt x="0" y="443"/>
                  </a:lnTo>
                  <a:lnTo>
                    <a:pt x="1" y="449"/>
                  </a:lnTo>
                  <a:lnTo>
                    <a:pt x="2" y="455"/>
                  </a:lnTo>
                  <a:lnTo>
                    <a:pt x="4" y="460"/>
                  </a:lnTo>
                  <a:lnTo>
                    <a:pt x="6" y="466"/>
                  </a:lnTo>
                  <a:lnTo>
                    <a:pt x="9" y="470"/>
                  </a:lnTo>
                  <a:lnTo>
                    <a:pt x="13" y="475"/>
                  </a:lnTo>
                  <a:lnTo>
                    <a:pt x="17" y="480"/>
                  </a:lnTo>
                  <a:lnTo>
                    <a:pt x="21" y="483"/>
                  </a:lnTo>
                  <a:lnTo>
                    <a:pt x="26" y="486"/>
                  </a:lnTo>
                  <a:lnTo>
                    <a:pt x="31" y="489"/>
                  </a:lnTo>
                  <a:lnTo>
                    <a:pt x="36" y="493"/>
                  </a:lnTo>
                  <a:lnTo>
                    <a:pt x="42" y="494"/>
                  </a:lnTo>
                  <a:lnTo>
                    <a:pt x="47" y="496"/>
                  </a:lnTo>
                  <a:lnTo>
                    <a:pt x="53" y="497"/>
                  </a:lnTo>
                  <a:lnTo>
                    <a:pt x="60" y="4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B651CA36-B57E-41FD-A1C8-520FAEAC64BC}"/>
              </a:ext>
            </a:extLst>
          </p:cNvPr>
          <p:cNvCxnSpPr>
            <a:cxnSpLocks/>
          </p:cNvCxnSpPr>
          <p:nvPr/>
        </p:nvCxnSpPr>
        <p:spPr>
          <a:xfrm>
            <a:off x="0" y="742523"/>
            <a:ext cx="7442200" cy="0"/>
          </a:xfrm>
          <a:prstGeom prst="line">
            <a:avLst/>
          </a:prstGeom>
          <a:ln>
            <a:solidFill>
              <a:srgbClr val="2E1437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C74F8687-6870-405F-98FC-B41F96B06C57}"/>
              </a:ext>
            </a:extLst>
          </p:cNvPr>
          <p:cNvSpPr txBox="1"/>
          <p:nvPr/>
        </p:nvSpPr>
        <p:spPr>
          <a:xfrm>
            <a:off x="838200" y="327025"/>
            <a:ext cx="10515600" cy="830997"/>
          </a:xfrm>
          <a:prstGeom prst="rect">
            <a:avLst/>
          </a:prstGeom>
          <a:noFill/>
          <a:effectLst/>
        </p:spPr>
        <p:txBody>
          <a:bodyPr wrap="square" lIns="0" tIns="0" rIns="0" bIns="0" rtlCol="0" anchor="t">
            <a:spAutoFit/>
          </a:bodyPr>
          <a:lstStyle/>
          <a:p>
            <a:pPr algn="r"/>
            <a:r>
              <a:rPr lang="ko-KR" altLang="en-US" sz="5400" b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Segoe UI Black"/>
                <a:cs typeface="Segoe UI"/>
              </a:rPr>
              <a:t>WHO?</a:t>
            </a:r>
            <a:endParaRPr lang="ko-KR" altLang="en-US" sz="5400" b="1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Segoe UI Black"/>
              <a:cs typeface="Segoe UI" panose="020B0502040204020203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004093C-A9B6-4732-A594-3FCDF2D73B5A}"/>
              </a:ext>
            </a:extLst>
          </p:cNvPr>
          <p:cNvSpPr txBox="1"/>
          <p:nvPr/>
        </p:nvSpPr>
        <p:spPr>
          <a:xfrm>
            <a:off x="185530" y="329095"/>
            <a:ext cx="2743200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ko-KR" altLang="en-US" b="1">
                <a:solidFill>
                  <a:schemeClr val="bg2">
                    <a:lumMod val="75000"/>
                  </a:schemeClr>
                </a:solidFill>
                <a:latin typeface="Malgun Gothic"/>
                <a:ea typeface="Malgun Gothic"/>
              </a:rPr>
              <a:t>우리 팀을 소개합니다</a:t>
            </a: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AA4C9963-B353-4BF6-8BDA-1B6E43AC6AE3}"/>
              </a:ext>
            </a:extLst>
          </p:cNvPr>
          <p:cNvSpPr/>
          <p:nvPr/>
        </p:nvSpPr>
        <p:spPr>
          <a:xfrm>
            <a:off x="7898866" y="2712215"/>
            <a:ext cx="3676331" cy="338554"/>
          </a:xfrm>
          <a:prstGeom prst="rect">
            <a:avLst/>
          </a:prstGeom>
        </p:spPr>
        <p:txBody>
          <a:bodyPr wrap="square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ko-KR" altLang="en-US" sz="1600" b="1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김수민</a:t>
            </a:r>
            <a:endParaRPr lang="en-US" sz="1600">
              <a:solidFill>
                <a:schemeClr val="tx1">
                  <a:lumMod val="75000"/>
                  <a:lumOff val="25000"/>
                </a:schemeClr>
              </a:solidFill>
              <a:latin typeface="Malgun Gothic"/>
              <a:ea typeface="Malgun Gothic"/>
            </a:endParaRP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FE623349-1887-4BF9-B5FC-3A8E965B0C3B}"/>
              </a:ext>
            </a:extLst>
          </p:cNvPr>
          <p:cNvSpPr/>
          <p:nvPr/>
        </p:nvSpPr>
        <p:spPr>
          <a:xfrm>
            <a:off x="7898866" y="5464080"/>
            <a:ext cx="3676331" cy="338554"/>
          </a:xfrm>
          <a:prstGeom prst="rect">
            <a:avLst/>
          </a:prstGeom>
        </p:spPr>
        <p:txBody>
          <a:bodyPr wrap="square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ko-KR" altLang="en-US" sz="1600" b="1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최수진</a:t>
            </a:r>
            <a:endParaRPr lang="en-US" sz="1400">
              <a:solidFill>
                <a:schemeClr val="tx1">
                  <a:lumMod val="75000"/>
                  <a:lumOff val="25000"/>
                </a:schemeClr>
              </a:solidFill>
              <a:latin typeface="Malgun Gothic"/>
              <a:ea typeface="Malgun Gothic"/>
            </a:endParaRPr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F40B5063-31A8-4B91-8A13-DF37F49871A3}"/>
              </a:ext>
            </a:extLst>
          </p:cNvPr>
          <p:cNvSpPr/>
          <p:nvPr/>
        </p:nvSpPr>
        <p:spPr>
          <a:xfrm>
            <a:off x="8558373" y="4548772"/>
            <a:ext cx="3000564" cy="338554"/>
          </a:xfrm>
          <a:prstGeom prst="rect">
            <a:avLst/>
          </a:prstGeom>
        </p:spPr>
        <p:txBody>
          <a:bodyPr wrap="square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ko-KR" altLang="en-US" sz="1600" b="1" err="1">
                <a:solidFill>
                  <a:schemeClr val="tx2">
                    <a:lumMod val="75000"/>
                  </a:schemeClr>
                </a:solidFill>
                <a:latin typeface="Malgun Gothic"/>
                <a:ea typeface="Malgun Gothic"/>
              </a:rPr>
              <a:t>손규리</a:t>
            </a:r>
            <a:r>
              <a:rPr lang="ko-KR" altLang="en-US" sz="1600" b="1">
                <a:solidFill>
                  <a:schemeClr val="tx2">
                    <a:lumMod val="75000"/>
                  </a:schemeClr>
                </a:solidFill>
                <a:latin typeface="Malgun Gothic"/>
                <a:ea typeface="Malgun Gothic"/>
              </a:rPr>
              <a:t>(PM)</a:t>
            </a:r>
            <a:endParaRPr lang="en-US" sz="1400" err="1">
              <a:solidFill>
                <a:schemeClr val="tx2">
                  <a:lumMod val="75000"/>
                </a:schemeClr>
              </a:solidFill>
              <a:latin typeface="Malgun Gothic"/>
              <a:ea typeface="Malgun Gothic"/>
            </a:endParaRPr>
          </a:p>
        </p:txBody>
      </p:sp>
    </p:spTree>
    <p:extLst>
      <p:ext uri="{BB962C8B-B14F-4D97-AF65-F5344CB8AC3E}">
        <p14:creationId xmlns:p14="http://schemas.microsoft.com/office/powerpoint/2010/main" val="250577919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38FBB724-0CB6-4898-9074-9C821F46B2E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30881" y="1460501"/>
            <a:ext cx="6407260" cy="4546598"/>
          </a:xfrm>
          <a:prstGeom prst="rect">
            <a:avLst/>
          </a:prstGeom>
        </p:spPr>
      </p:pic>
      <p:pic>
        <p:nvPicPr>
          <p:cNvPr id="14" name="Picture 14" descr="스크린샷이(가) 표시된 사진&#10;&#10;매우 높은 신뢰도로 생성된 설명">
            <a:extLst>
              <a:ext uri="{FF2B5EF4-FFF2-40B4-BE49-F238E27FC236}">
                <a16:creationId xmlns:a16="http://schemas.microsoft.com/office/drawing/2014/main" id="{FD90B457-6D5B-4D79-BD9B-F416D3ECC25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36343" y="1599300"/>
            <a:ext cx="6202279" cy="3544699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2FC10FF2-A030-4DF9-B3E9-80BF47367006}"/>
              </a:ext>
            </a:extLst>
          </p:cNvPr>
          <p:cNvSpPr txBox="1"/>
          <p:nvPr/>
        </p:nvSpPr>
        <p:spPr>
          <a:xfrm>
            <a:off x="838200" y="327025"/>
            <a:ext cx="10515600" cy="830997"/>
          </a:xfrm>
          <a:prstGeom prst="rect">
            <a:avLst/>
          </a:prstGeom>
          <a:noFill/>
          <a:effectLst/>
        </p:spPr>
        <p:txBody>
          <a:bodyPr wrap="square" lIns="0" tIns="0" rIns="0" bIns="0" rtlCol="0" anchor="t">
            <a:spAutoFit/>
          </a:bodyPr>
          <a:lstStyle/>
          <a:p>
            <a:pPr algn="r"/>
            <a:r>
              <a:rPr lang="ko-KR" altLang="en-US" sz="5400" b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Segoe UI Black"/>
                <a:cs typeface="Segoe UI"/>
              </a:rPr>
              <a:t>WHAT?</a:t>
            </a:r>
            <a:endParaRPr lang="ko-KR" altLang="en-US" sz="5400" b="1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Segoe UI Black"/>
              <a:cs typeface="Segoe UI" panose="020B0502040204020203" pitchFamily="34" charset="0"/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A3BBA7F-BCCD-4A20-A1E8-81DC7C7206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3E0A61-7EA5-4F01-AA83-D9B74E02F9FC}" type="datetime1">
              <a:rPr lang="en-US" smtClean="0"/>
              <a:t>7/3/2019</a:t>
            </a:fld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86B17AD-BC4C-433E-BA80-64D220DBC4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C45652-25C1-4BF0-A3A9-200AF1F974E6}" type="slidenum">
              <a:rPr lang="en-US" smtClean="0"/>
              <a:t>3</a:t>
            </a:fld>
            <a:endParaRPr lang="en-US"/>
          </a:p>
        </p:txBody>
      </p: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E1660D60-9576-4400-BF79-6B668ECC8F07}"/>
              </a:ext>
            </a:extLst>
          </p:cNvPr>
          <p:cNvCxnSpPr>
            <a:cxnSpLocks/>
          </p:cNvCxnSpPr>
          <p:nvPr/>
        </p:nvCxnSpPr>
        <p:spPr>
          <a:xfrm>
            <a:off x="0" y="742523"/>
            <a:ext cx="7442200" cy="0"/>
          </a:xfrm>
          <a:prstGeom prst="line">
            <a:avLst/>
          </a:prstGeom>
          <a:ln>
            <a:solidFill>
              <a:srgbClr val="2E1437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Oval 46">
            <a:extLst>
              <a:ext uri="{FF2B5EF4-FFF2-40B4-BE49-F238E27FC236}">
                <a16:creationId xmlns:a16="http://schemas.microsoft.com/office/drawing/2014/main" id="{FA3D0946-1F68-4FF1-9CD8-B8B31ECD2753}"/>
              </a:ext>
            </a:extLst>
          </p:cNvPr>
          <p:cNvSpPr/>
          <p:nvPr/>
        </p:nvSpPr>
        <p:spPr>
          <a:xfrm>
            <a:off x="9444375" y="5862638"/>
            <a:ext cx="2089149" cy="4064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37AEEB3-2672-419A-80BB-42078CB4E9A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flipH="1">
            <a:off x="9345947" y="2017191"/>
            <a:ext cx="1981202" cy="4164534"/>
          </a:xfrm>
          <a:prstGeom prst="rect">
            <a:avLst/>
          </a:prstGeom>
        </p:spPr>
      </p:pic>
      <p:sp>
        <p:nvSpPr>
          <p:cNvPr id="27" name="Rectangle: Top Corners Rounded 26">
            <a:extLst>
              <a:ext uri="{FF2B5EF4-FFF2-40B4-BE49-F238E27FC236}">
                <a16:creationId xmlns:a16="http://schemas.microsoft.com/office/drawing/2014/main" id="{4905B44F-D6EE-4B2E-B8DF-B9B4C4AE3C42}"/>
              </a:ext>
            </a:extLst>
          </p:cNvPr>
          <p:cNvSpPr/>
          <p:nvPr/>
        </p:nvSpPr>
        <p:spPr>
          <a:xfrm rot="5400000">
            <a:off x="3142591" y="2447332"/>
            <a:ext cx="1168868" cy="84203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8" name="Rectangle: Top Corners Rounded 77">
            <a:extLst>
              <a:ext uri="{FF2B5EF4-FFF2-40B4-BE49-F238E27FC236}">
                <a16:creationId xmlns:a16="http://schemas.microsoft.com/office/drawing/2014/main" id="{E77035F8-48BD-4E5F-B122-FE0375E15EC8}"/>
              </a:ext>
            </a:extLst>
          </p:cNvPr>
          <p:cNvSpPr/>
          <p:nvPr/>
        </p:nvSpPr>
        <p:spPr>
          <a:xfrm rot="5400000">
            <a:off x="3142590" y="4030815"/>
            <a:ext cx="1168868" cy="84203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2" name="Freeform: Shape 71">
            <a:extLst>
              <a:ext uri="{FF2B5EF4-FFF2-40B4-BE49-F238E27FC236}">
                <a16:creationId xmlns:a16="http://schemas.microsoft.com/office/drawing/2014/main" id="{51CE30F5-39D7-4CA1-B878-1FA76E8AE354}"/>
              </a:ext>
            </a:extLst>
          </p:cNvPr>
          <p:cNvSpPr/>
          <p:nvPr/>
        </p:nvSpPr>
        <p:spPr>
          <a:xfrm>
            <a:off x="658476" y="1969726"/>
            <a:ext cx="3110651" cy="1062148"/>
          </a:xfrm>
          <a:custGeom>
            <a:avLst/>
            <a:gdLst>
              <a:gd name="connsiteX0" fmla="*/ 531074 w 3110651"/>
              <a:gd name="connsiteY0" fmla="*/ 0 h 1062148"/>
              <a:gd name="connsiteX1" fmla="*/ 3110651 w 3110651"/>
              <a:gd name="connsiteY1" fmla="*/ 0 h 1062148"/>
              <a:gd name="connsiteX2" fmla="*/ 3110651 w 3110651"/>
              <a:gd name="connsiteY2" fmla="*/ 1062148 h 1062148"/>
              <a:gd name="connsiteX3" fmla="*/ 531074 w 3110651"/>
              <a:gd name="connsiteY3" fmla="*/ 1062147 h 1062148"/>
              <a:gd name="connsiteX4" fmla="*/ 10790 w 3110651"/>
              <a:gd name="connsiteY4" fmla="*/ 638103 h 1062148"/>
              <a:gd name="connsiteX5" fmla="*/ 0 w 3110651"/>
              <a:gd name="connsiteY5" fmla="*/ 531074 h 1062148"/>
              <a:gd name="connsiteX6" fmla="*/ 10790 w 3110651"/>
              <a:gd name="connsiteY6" fmla="*/ 424044 h 1062148"/>
              <a:gd name="connsiteX7" fmla="*/ 531074 w 3110651"/>
              <a:gd name="connsiteY7" fmla="*/ 0 h 10621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110651" h="1062148">
                <a:moveTo>
                  <a:pt x="531074" y="0"/>
                </a:moveTo>
                <a:lnTo>
                  <a:pt x="3110651" y="0"/>
                </a:lnTo>
                <a:lnTo>
                  <a:pt x="3110651" y="1062148"/>
                </a:lnTo>
                <a:lnTo>
                  <a:pt x="531074" y="1062147"/>
                </a:lnTo>
                <a:cubicBezTo>
                  <a:pt x="274433" y="1062147"/>
                  <a:pt x="60310" y="880104"/>
                  <a:pt x="10790" y="638103"/>
                </a:cubicBezTo>
                <a:lnTo>
                  <a:pt x="0" y="531074"/>
                </a:lnTo>
                <a:lnTo>
                  <a:pt x="10790" y="424044"/>
                </a:lnTo>
                <a:cubicBezTo>
                  <a:pt x="60310" y="182043"/>
                  <a:pt x="274433" y="0"/>
                  <a:pt x="531074" y="0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1" name="Freeform: Shape 70">
            <a:extLst>
              <a:ext uri="{FF2B5EF4-FFF2-40B4-BE49-F238E27FC236}">
                <a16:creationId xmlns:a16="http://schemas.microsoft.com/office/drawing/2014/main" id="{484FF5AB-4E58-4578-A010-93CB9EAA9E32}"/>
              </a:ext>
            </a:extLst>
          </p:cNvPr>
          <p:cNvSpPr/>
          <p:nvPr/>
        </p:nvSpPr>
        <p:spPr>
          <a:xfrm>
            <a:off x="658476" y="3541842"/>
            <a:ext cx="3110651" cy="1062148"/>
          </a:xfrm>
          <a:custGeom>
            <a:avLst/>
            <a:gdLst>
              <a:gd name="connsiteX0" fmla="*/ 531074 w 3110651"/>
              <a:gd name="connsiteY0" fmla="*/ 0 h 1062148"/>
              <a:gd name="connsiteX1" fmla="*/ 3110651 w 3110651"/>
              <a:gd name="connsiteY1" fmla="*/ 0 h 1062148"/>
              <a:gd name="connsiteX2" fmla="*/ 3110651 w 3110651"/>
              <a:gd name="connsiteY2" fmla="*/ 1062148 h 1062148"/>
              <a:gd name="connsiteX3" fmla="*/ 531074 w 3110651"/>
              <a:gd name="connsiteY3" fmla="*/ 1062147 h 1062148"/>
              <a:gd name="connsiteX4" fmla="*/ 10790 w 3110651"/>
              <a:gd name="connsiteY4" fmla="*/ 638103 h 1062148"/>
              <a:gd name="connsiteX5" fmla="*/ 0 w 3110651"/>
              <a:gd name="connsiteY5" fmla="*/ 531074 h 1062148"/>
              <a:gd name="connsiteX6" fmla="*/ 10790 w 3110651"/>
              <a:gd name="connsiteY6" fmla="*/ 424044 h 1062148"/>
              <a:gd name="connsiteX7" fmla="*/ 531074 w 3110651"/>
              <a:gd name="connsiteY7" fmla="*/ 0 h 10621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110651" h="1062148">
                <a:moveTo>
                  <a:pt x="531074" y="0"/>
                </a:moveTo>
                <a:lnTo>
                  <a:pt x="3110651" y="0"/>
                </a:lnTo>
                <a:lnTo>
                  <a:pt x="3110651" y="1062148"/>
                </a:lnTo>
                <a:lnTo>
                  <a:pt x="531074" y="1062147"/>
                </a:lnTo>
                <a:cubicBezTo>
                  <a:pt x="274433" y="1062147"/>
                  <a:pt x="60310" y="880105"/>
                  <a:pt x="10790" y="638103"/>
                </a:cubicBezTo>
                <a:lnTo>
                  <a:pt x="0" y="531074"/>
                </a:lnTo>
                <a:lnTo>
                  <a:pt x="10790" y="424044"/>
                </a:lnTo>
                <a:cubicBezTo>
                  <a:pt x="60310" y="182043"/>
                  <a:pt x="274433" y="0"/>
                  <a:pt x="531074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48321AC9-191E-4B8B-B4BA-085C713D107A}"/>
              </a:ext>
            </a:extLst>
          </p:cNvPr>
          <p:cNvSpPr txBox="1"/>
          <p:nvPr/>
        </p:nvSpPr>
        <p:spPr>
          <a:xfrm>
            <a:off x="1152134" y="3826696"/>
            <a:ext cx="2460894" cy="4924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algn="r">
              <a:buClr>
                <a:schemeClr val="accent1"/>
              </a:buClr>
            </a:pPr>
            <a:r>
              <a:rPr lang="ko-KR" altLang="en-US" sz="1600">
                <a:solidFill>
                  <a:schemeClr val="bg1"/>
                </a:solidFill>
                <a:latin typeface="Malgun Gothic"/>
                <a:ea typeface="Malgun Gothic"/>
              </a:rPr>
              <a:t>초보 프로그래머들을 위한 인터넷 강의 플랫폼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E100187-9B4F-4EA2-B55F-AB68080FA9F9}"/>
              </a:ext>
            </a:extLst>
          </p:cNvPr>
          <p:cNvSpPr txBox="1"/>
          <p:nvPr/>
        </p:nvSpPr>
        <p:spPr>
          <a:xfrm>
            <a:off x="212558" y="322847"/>
            <a:ext cx="2743200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ko-KR" altLang="en-US" b="1" err="1">
                <a:solidFill>
                  <a:schemeClr val="bg1">
                    <a:lumMod val="65000"/>
                  </a:schemeClr>
                </a:solidFill>
                <a:latin typeface="Malgun Gothic"/>
                <a:ea typeface="Malgun Gothic"/>
              </a:rPr>
              <a:t>WWW는</a:t>
            </a:r>
            <a:r>
              <a:rPr lang="ko-KR" altLang="en-US" b="1">
                <a:solidFill>
                  <a:schemeClr val="bg1">
                    <a:lumMod val="65000"/>
                  </a:schemeClr>
                </a:solidFill>
                <a:latin typeface="Malgun Gothic"/>
                <a:ea typeface="Malgun Gothic"/>
              </a:rPr>
              <a:t>?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BCC12E76-E3D6-4420-A093-C05E074FA1D6}"/>
              </a:ext>
            </a:extLst>
          </p:cNvPr>
          <p:cNvSpPr txBox="1"/>
          <p:nvPr/>
        </p:nvSpPr>
        <p:spPr>
          <a:xfrm>
            <a:off x="1152134" y="2254580"/>
            <a:ext cx="2460894" cy="4924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algn="r">
              <a:buClr>
                <a:schemeClr val="accent1"/>
              </a:buClr>
            </a:pPr>
            <a:r>
              <a:rPr lang="ko-KR" altLang="en-US" sz="1600">
                <a:solidFill>
                  <a:schemeClr val="bg1"/>
                </a:solidFill>
                <a:latin typeface="Malgun Gothic"/>
                <a:ea typeface="Malgun Gothic"/>
              </a:rPr>
              <a:t>[</a:t>
            </a:r>
            <a:r>
              <a:rPr lang="ko-KR" altLang="en-US" sz="1600" err="1">
                <a:solidFill>
                  <a:schemeClr val="bg1"/>
                </a:solidFill>
                <a:latin typeface="Malgun Gothic"/>
                <a:ea typeface="Malgun Gothic"/>
              </a:rPr>
              <a:t>프로그래머스</a:t>
            </a:r>
            <a:r>
              <a:rPr lang="ko-KR" altLang="en-US" sz="1600">
                <a:solidFill>
                  <a:schemeClr val="bg1"/>
                </a:solidFill>
                <a:latin typeface="Malgun Gothic"/>
                <a:ea typeface="Malgun Gothic"/>
              </a:rPr>
              <a:t>]</a:t>
            </a:r>
            <a:r>
              <a:rPr lang="ko-KR" altLang="en-US" sz="1600" err="1">
                <a:solidFill>
                  <a:schemeClr val="bg1"/>
                </a:solidFill>
                <a:latin typeface="Malgun Gothic"/>
                <a:ea typeface="Malgun Gothic"/>
              </a:rPr>
              <a:t>를</a:t>
            </a:r>
            <a:endParaRPr lang="ko-KR" sz="1600" err="1">
              <a:solidFill>
                <a:schemeClr val="bg1"/>
              </a:solidFill>
              <a:latin typeface="Malgun Gothic"/>
              <a:ea typeface="Malgun Gothic"/>
            </a:endParaRPr>
          </a:p>
          <a:p>
            <a:pPr algn="r">
              <a:buClr>
                <a:schemeClr val="accent1"/>
              </a:buClr>
            </a:pPr>
            <a:r>
              <a:rPr lang="ko-KR" altLang="en-US" sz="1600">
                <a:solidFill>
                  <a:schemeClr val="bg1"/>
                </a:solidFill>
                <a:latin typeface="Malgun Gothic"/>
                <a:ea typeface="Malgun Gothic"/>
              </a:rPr>
              <a:t>벤치마킹한</a:t>
            </a:r>
            <a:endParaRPr lang="ko-KR" sz="1600">
              <a:solidFill>
                <a:schemeClr val="bg1"/>
              </a:solidFill>
              <a:latin typeface="Malgun Gothic"/>
              <a:ea typeface="Malgun Gothic"/>
            </a:endParaRPr>
          </a:p>
        </p:txBody>
      </p:sp>
    </p:spTree>
    <p:extLst>
      <p:ext uri="{BB962C8B-B14F-4D97-AF65-F5344CB8AC3E}">
        <p14:creationId xmlns:p14="http://schemas.microsoft.com/office/powerpoint/2010/main" val="235694984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>
            <a:extLst>
              <a:ext uri="{FF2B5EF4-FFF2-40B4-BE49-F238E27FC236}">
                <a16:creationId xmlns:a16="http://schemas.microsoft.com/office/drawing/2014/main" id="{2FC10FF2-A030-4DF9-B3E9-80BF47367006}"/>
              </a:ext>
            </a:extLst>
          </p:cNvPr>
          <p:cNvSpPr txBox="1"/>
          <p:nvPr/>
        </p:nvSpPr>
        <p:spPr>
          <a:xfrm>
            <a:off x="838200" y="327025"/>
            <a:ext cx="10515600" cy="830997"/>
          </a:xfrm>
          <a:prstGeom prst="rect">
            <a:avLst/>
          </a:prstGeom>
          <a:noFill/>
          <a:effectLst/>
        </p:spPr>
        <p:txBody>
          <a:bodyPr wrap="square" lIns="0" tIns="0" rIns="0" bIns="0" rtlCol="0" anchor="t">
            <a:spAutoFit/>
          </a:bodyPr>
          <a:lstStyle/>
          <a:p>
            <a:pPr algn="r"/>
            <a:r>
              <a:rPr lang="en-US" sz="5400" b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Segoe UI Black"/>
                <a:cs typeface="Segoe UI"/>
              </a:rPr>
              <a:t>WHY?</a:t>
            </a:r>
            <a:endParaRPr lang="en-US" sz="5400" b="1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A3BBA7F-BCCD-4A20-A1E8-81DC7C7206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3E0A61-7EA5-4F01-AA83-D9B74E02F9FC}" type="datetime1">
              <a:rPr lang="en-US" smtClean="0"/>
              <a:t>7/3/2019</a:t>
            </a:fld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86B17AD-BC4C-433E-BA80-64D220DBC4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C45652-25C1-4BF0-A3A9-200AF1F974E6}" type="slidenum">
              <a:rPr lang="en-US" smtClean="0"/>
              <a:t>4</a:t>
            </a:fld>
            <a:endParaRPr lang="en-US"/>
          </a:p>
        </p:txBody>
      </p: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E1660D60-9576-4400-BF79-6B668ECC8F07}"/>
              </a:ext>
            </a:extLst>
          </p:cNvPr>
          <p:cNvCxnSpPr>
            <a:cxnSpLocks/>
          </p:cNvCxnSpPr>
          <p:nvPr/>
        </p:nvCxnSpPr>
        <p:spPr>
          <a:xfrm>
            <a:off x="0" y="742523"/>
            <a:ext cx="7442200" cy="0"/>
          </a:xfrm>
          <a:prstGeom prst="line">
            <a:avLst/>
          </a:prstGeom>
          <a:ln>
            <a:solidFill>
              <a:srgbClr val="2E1437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8049A252-E9DD-489A-9239-831B3BD33C8F}"/>
              </a:ext>
            </a:extLst>
          </p:cNvPr>
          <p:cNvSpPr/>
          <p:nvPr/>
        </p:nvSpPr>
        <p:spPr>
          <a:xfrm>
            <a:off x="8049914" y="3498592"/>
            <a:ext cx="4142085" cy="215683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925F013-F3BA-47CD-93A9-5C232228D709}"/>
              </a:ext>
            </a:extLst>
          </p:cNvPr>
          <p:cNvSpPr/>
          <p:nvPr/>
        </p:nvSpPr>
        <p:spPr>
          <a:xfrm>
            <a:off x="4838700" y="3498592"/>
            <a:ext cx="3211215" cy="215683"/>
          </a:xfrm>
          <a:prstGeom prst="rect">
            <a:avLst/>
          </a:prstGeom>
          <a:solidFill>
            <a:srgbClr val="280E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82509CC-7CC4-4E16-BE35-C0D615E7DF80}"/>
              </a:ext>
            </a:extLst>
          </p:cNvPr>
          <p:cNvSpPr/>
          <p:nvPr/>
        </p:nvSpPr>
        <p:spPr>
          <a:xfrm>
            <a:off x="2330451" y="3498592"/>
            <a:ext cx="2508249" cy="215683"/>
          </a:xfrm>
          <a:prstGeom prst="rect">
            <a:avLst/>
          </a:prstGeom>
          <a:solidFill>
            <a:srgbClr val="55627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76A5FFF-05E4-484C-94D6-9A1754C99B85}"/>
              </a:ext>
            </a:extLst>
          </p:cNvPr>
          <p:cNvSpPr/>
          <p:nvPr/>
        </p:nvSpPr>
        <p:spPr>
          <a:xfrm>
            <a:off x="1" y="3498592"/>
            <a:ext cx="2330450" cy="215683"/>
          </a:xfrm>
          <a:prstGeom prst="rect">
            <a:avLst/>
          </a:prstGeom>
          <a:solidFill>
            <a:srgbClr val="FF6B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Circle: Hollow 19">
            <a:extLst>
              <a:ext uri="{FF2B5EF4-FFF2-40B4-BE49-F238E27FC236}">
                <a16:creationId xmlns:a16="http://schemas.microsoft.com/office/drawing/2014/main" id="{0BE67B5A-7FDB-4D3F-B825-15C452F796C5}"/>
              </a:ext>
            </a:extLst>
          </p:cNvPr>
          <p:cNvSpPr/>
          <p:nvPr/>
        </p:nvSpPr>
        <p:spPr>
          <a:xfrm>
            <a:off x="8960590" y="1918337"/>
            <a:ext cx="1795939" cy="1795938"/>
          </a:xfrm>
          <a:prstGeom prst="donut">
            <a:avLst>
              <a:gd name="adj" fmla="val 12497"/>
            </a:avLst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  <a:effectLst>
            <a:innerShdw blurRad="63500" dist="50800" dir="162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7" name="Circle: Hollow 16">
            <a:extLst>
              <a:ext uri="{FF2B5EF4-FFF2-40B4-BE49-F238E27FC236}">
                <a16:creationId xmlns:a16="http://schemas.microsoft.com/office/drawing/2014/main" id="{CEE43BAB-0ECF-4F01-A4CD-40FFDFAA5FE0}"/>
              </a:ext>
            </a:extLst>
          </p:cNvPr>
          <p:cNvSpPr/>
          <p:nvPr/>
        </p:nvSpPr>
        <p:spPr>
          <a:xfrm>
            <a:off x="6452217" y="1918337"/>
            <a:ext cx="1795939" cy="1795938"/>
          </a:xfrm>
          <a:prstGeom prst="donut">
            <a:avLst>
              <a:gd name="adj" fmla="val 12497"/>
            </a:avLst>
          </a:prstGeom>
          <a:solidFill>
            <a:srgbClr val="280E32"/>
          </a:solidFill>
          <a:ln>
            <a:noFill/>
          </a:ln>
          <a:effectLst>
            <a:innerShdw blurRad="63500" dist="50800" dir="162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5" name="Circle: Hollow 14">
            <a:extLst>
              <a:ext uri="{FF2B5EF4-FFF2-40B4-BE49-F238E27FC236}">
                <a16:creationId xmlns:a16="http://schemas.microsoft.com/office/drawing/2014/main" id="{0FBD76AA-9FE8-45A6-9CDC-720E279CA43E}"/>
              </a:ext>
            </a:extLst>
          </p:cNvPr>
          <p:cNvSpPr/>
          <p:nvPr/>
        </p:nvSpPr>
        <p:spPr>
          <a:xfrm>
            <a:off x="3943844" y="1918337"/>
            <a:ext cx="1795939" cy="1795938"/>
          </a:xfrm>
          <a:prstGeom prst="donut">
            <a:avLst>
              <a:gd name="adj" fmla="val 12497"/>
            </a:avLst>
          </a:prstGeom>
          <a:solidFill>
            <a:srgbClr val="556270"/>
          </a:solidFill>
          <a:ln>
            <a:noFill/>
          </a:ln>
          <a:effectLst>
            <a:innerShdw blurRad="63500" dist="50800" dir="162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4" name="Circle: Hollow 3">
            <a:extLst>
              <a:ext uri="{FF2B5EF4-FFF2-40B4-BE49-F238E27FC236}">
                <a16:creationId xmlns:a16="http://schemas.microsoft.com/office/drawing/2014/main" id="{B5631EEF-80EF-4AC3-B20D-C081126F6966}"/>
              </a:ext>
            </a:extLst>
          </p:cNvPr>
          <p:cNvSpPr/>
          <p:nvPr/>
        </p:nvSpPr>
        <p:spPr>
          <a:xfrm>
            <a:off x="1435471" y="1918337"/>
            <a:ext cx="1795939" cy="1795938"/>
          </a:xfrm>
          <a:prstGeom prst="donut">
            <a:avLst>
              <a:gd name="adj" fmla="val 12497"/>
            </a:avLst>
          </a:prstGeom>
          <a:solidFill>
            <a:srgbClr val="FF6B6B"/>
          </a:solidFill>
          <a:ln>
            <a:noFill/>
          </a:ln>
          <a:effectLst>
            <a:innerShdw blurRad="63500" dist="50800" dir="162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9" name="Isosceles Triangle 8">
            <a:extLst>
              <a:ext uri="{FF2B5EF4-FFF2-40B4-BE49-F238E27FC236}">
                <a16:creationId xmlns:a16="http://schemas.microsoft.com/office/drawing/2014/main" id="{2671D3F2-F1F4-42AA-9CB7-735FE6F2D76B}"/>
              </a:ext>
            </a:extLst>
          </p:cNvPr>
          <p:cNvSpPr/>
          <p:nvPr/>
        </p:nvSpPr>
        <p:spPr>
          <a:xfrm flipV="1">
            <a:off x="2222501" y="3917360"/>
            <a:ext cx="215900" cy="186120"/>
          </a:xfrm>
          <a:prstGeom prst="triangle">
            <a:avLst/>
          </a:prstGeom>
          <a:solidFill>
            <a:srgbClr val="FF6B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Isosceles Triangle 22">
            <a:extLst>
              <a:ext uri="{FF2B5EF4-FFF2-40B4-BE49-F238E27FC236}">
                <a16:creationId xmlns:a16="http://schemas.microsoft.com/office/drawing/2014/main" id="{840C1ABB-E2C4-46AC-B613-4BF3F34F2C77}"/>
              </a:ext>
            </a:extLst>
          </p:cNvPr>
          <p:cNvSpPr/>
          <p:nvPr/>
        </p:nvSpPr>
        <p:spPr>
          <a:xfrm flipV="1">
            <a:off x="4730750" y="3917360"/>
            <a:ext cx="215900" cy="186120"/>
          </a:xfrm>
          <a:prstGeom prst="triangle">
            <a:avLst/>
          </a:prstGeom>
          <a:solidFill>
            <a:srgbClr val="55627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Isosceles Triangle 23">
            <a:extLst>
              <a:ext uri="{FF2B5EF4-FFF2-40B4-BE49-F238E27FC236}">
                <a16:creationId xmlns:a16="http://schemas.microsoft.com/office/drawing/2014/main" id="{2CFEEF99-94BA-436B-9AAD-017243536925}"/>
              </a:ext>
            </a:extLst>
          </p:cNvPr>
          <p:cNvSpPr/>
          <p:nvPr/>
        </p:nvSpPr>
        <p:spPr>
          <a:xfrm flipV="1">
            <a:off x="7245352" y="3917360"/>
            <a:ext cx="215900" cy="186120"/>
          </a:xfrm>
          <a:prstGeom prst="triangle">
            <a:avLst/>
          </a:prstGeom>
          <a:solidFill>
            <a:srgbClr val="280E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Isosceles Triangle 24">
            <a:extLst>
              <a:ext uri="{FF2B5EF4-FFF2-40B4-BE49-F238E27FC236}">
                <a16:creationId xmlns:a16="http://schemas.microsoft.com/office/drawing/2014/main" id="{408D5525-B47C-45BD-8C93-257F30BBDE78}"/>
              </a:ext>
            </a:extLst>
          </p:cNvPr>
          <p:cNvSpPr/>
          <p:nvPr/>
        </p:nvSpPr>
        <p:spPr>
          <a:xfrm flipV="1">
            <a:off x="9750609" y="3917360"/>
            <a:ext cx="215900" cy="186120"/>
          </a:xfrm>
          <a:prstGeom prst="triangle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9759C07B-3868-4894-8AED-31C64FE67C52}"/>
              </a:ext>
            </a:extLst>
          </p:cNvPr>
          <p:cNvSpPr txBox="1"/>
          <p:nvPr/>
        </p:nvSpPr>
        <p:spPr>
          <a:xfrm>
            <a:off x="1435471" y="4273465"/>
            <a:ext cx="1789960" cy="107721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marL="285750" indent="-285750">
              <a:buClr>
                <a:schemeClr val="accent1"/>
              </a:buClr>
              <a:buFont typeface="Wingdings"/>
              <a:buChar char="ü"/>
            </a:pPr>
            <a:r>
              <a:rPr lang="ko-KR" altLang="en-US" sz="140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프로그래밍 강의 수강을 통한 실력 향상</a:t>
            </a:r>
            <a:endParaRPr lang="ko-KR"/>
          </a:p>
          <a:p>
            <a:pPr marL="285750" indent="-285750">
              <a:buClr>
                <a:schemeClr val="accent1"/>
              </a:buClr>
              <a:buFont typeface="Wingdings"/>
              <a:buChar char="ü"/>
            </a:pPr>
            <a:r>
              <a:rPr lang="ko-KR" altLang="en-US" sz="140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언제 어디서나 코딩 실습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ED3CB14B-B423-4127-A533-DE850CDAF09C}"/>
              </a:ext>
            </a:extLst>
          </p:cNvPr>
          <p:cNvSpPr txBox="1"/>
          <p:nvPr/>
        </p:nvSpPr>
        <p:spPr>
          <a:xfrm>
            <a:off x="3949823" y="4273465"/>
            <a:ext cx="1789960" cy="129266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marL="285750" indent="-285750">
              <a:buClr>
                <a:schemeClr val="accent1"/>
              </a:buClr>
              <a:buFont typeface="Wingdings"/>
              <a:buChar char="ü"/>
            </a:pPr>
            <a:r>
              <a:rPr lang="ko-KR" altLang="en-US" sz="140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검색</a:t>
            </a:r>
            <a:r>
              <a:rPr lang="en-US" sz="140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 </a:t>
            </a:r>
            <a:r>
              <a:rPr lang="ko-KR" altLang="en-US" sz="140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기능</a:t>
            </a:r>
            <a:r>
              <a:rPr lang="en-US" sz="140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 </a:t>
            </a:r>
            <a:r>
              <a:rPr lang="ko-KR" altLang="en-US" sz="140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부재</a:t>
            </a:r>
            <a:endParaRPr lang="ko-KR"/>
          </a:p>
          <a:p>
            <a:pPr marL="285750" indent="-285750">
              <a:buClr>
                <a:schemeClr val="accent1"/>
              </a:buClr>
              <a:buFont typeface="Wingdings"/>
              <a:buChar char="ü"/>
            </a:pPr>
            <a:r>
              <a:rPr lang="ko-KR" altLang="en-US" sz="140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알아보기</a:t>
            </a:r>
            <a:r>
              <a:rPr lang="en-US" sz="140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 </a:t>
            </a:r>
            <a:r>
              <a:rPr lang="ko-KR" altLang="en-US" sz="140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힘든</a:t>
            </a:r>
            <a:r>
              <a:rPr lang="en-US" sz="140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 </a:t>
            </a:r>
            <a:r>
              <a:rPr lang="ko-KR" altLang="en-US" sz="140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강의</a:t>
            </a:r>
            <a:r>
              <a:rPr lang="en-US" sz="140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 </a:t>
            </a:r>
            <a:r>
              <a:rPr lang="ko-KR" altLang="en-US" sz="140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분류</a:t>
            </a:r>
          </a:p>
          <a:p>
            <a:pPr marL="285750" indent="-285750">
              <a:buClr>
                <a:schemeClr val="accent1"/>
              </a:buClr>
              <a:buFont typeface="Wingdings"/>
              <a:buChar char="ü"/>
            </a:pPr>
            <a:r>
              <a:rPr lang="ko-KR" altLang="en-US" sz="140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초보자에게 불친절한 문제와 설명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FC38F8CE-45EB-41F2-85C9-FD491AA6132E}"/>
              </a:ext>
            </a:extLst>
          </p:cNvPr>
          <p:cNvSpPr txBox="1"/>
          <p:nvPr/>
        </p:nvSpPr>
        <p:spPr>
          <a:xfrm>
            <a:off x="6458196" y="4273465"/>
            <a:ext cx="1789960" cy="430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marL="285750" indent="-285750" algn="ctr">
              <a:buClr>
                <a:schemeClr val="accent1"/>
              </a:buClr>
              <a:buFont typeface="Wingdings"/>
              <a:buChar char="ü"/>
            </a:pPr>
            <a:r>
              <a:rPr lang="ko-KR" altLang="en-US" sz="140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코딩테스트 결과를 채용 과정에 활용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CE6F450A-8864-4058-A001-734A83C0CA88}"/>
              </a:ext>
            </a:extLst>
          </p:cNvPr>
          <p:cNvSpPr txBox="1"/>
          <p:nvPr/>
        </p:nvSpPr>
        <p:spPr>
          <a:xfrm>
            <a:off x="8966569" y="4273465"/>
            <a:ext cx="1789960" cy="21544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marL="285750" indent="-285750" algn="ctr">
              <a:buClr>
                <a:schemeClr val="accent1"/>
              </a:buClr>
              <a:buFont typeface="Wingdings"/>
              <a:buChar char="ü"/>
            </a:pPr>
            <a:r>
              <a:rPr lang="ko-KR" altLang="en-US" sz="140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경쟁</a:t>
            </a:r>
            <a:r>
              <a:rPr lang="en-US" sz="140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 </a:t>
            </a:r>
            <a:r>
              <a:rPr lang="ko-KR" altLang="en-US" sz="140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사이트</a:t>
            </a:r>
            <a:r>
              <a:rPr lang="en-US" sz="140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 </a:t>
            </a:r>
            <a:r>
              <a:rPr lang="ko-KR" altLang="en-US" sz="1400">
                <a:solidFill>
                  <a:schemeClr val="tx1">
                    <a:lumMod val="75000"/>
                    <a:lumOff val="25000"/>
                  </a:schemeClr>
                </a:solidFill>
                <a:latin typeface="Malgun Gothic"/>
                <a:ea typeface="Malgun Gothic"/>
              </a:rPr>
              <a:t>존재</a:t>
            </a:r>
            <a:endParaRPr lang="en-US" sz="1400">
              <a:solidFill>
                <a:schemeClr val="tx1">
                  <a:lumMod val="75000"/>
                  <a:lumOff val="25000"/>
                </a:schemeClr>
              </a:solidFill>
              <a:latin typeface="Malgun Gothic"/>
              <a:ea typeface="Malgun Gothic"/>
            </a:endParaRP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996040DC-1341-48CE-9235-E33EB1957F8F}"/>
              </a:ext>
            </a:extLst>
          </p:cNvPr>
          <p:cNvGrpSpPr/>
          <p:nvPr/>
        </p:nvGrpSpPr>
        <p:grpSpPr>
          <a:xfrm>
            <a:off x="4598786" y="2573279"/>
            <a:ext cx="486054" cy="486054"/>
            <a:chOff x="4891088" y="2490788"/>
            <a:chExt cx="287338" cy="287338"/>
          </a:xfrm>
          <a:solidFill>
            <a:srgbClr val="556270"/>
          </a:solidFill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grpSpPr>
        <p:sp>
          <p:nvSpPr>
            <p:cNvPr id="33" name="Freeform 14">
              <a:extLst>
                <a:ext uri="{FF2B5EF4-FFF2-40B4-BE49-F238E27FC236}">
                  <a16:creationId xmlns:a16="http://schemas.microsoft.com/office/drawing/2014/main" id="{BA526940-5458-42A6-8DE1-C1AF36412D7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91088" y="2490788"/>
              <a:ext cx="287338" cy="287338"/>
            </a:xfrm>
            <a:custGeom>
              <a:avLst/>
              <a:gdLst>
                <a:gd name="T0" fmla="*/ 64 w 902"/>
                <a:gd name="T1" fmla="*/ 871 h 902"/>
                <a:gd name="T2" fmla="*/ 43 w 902"/>
                <a:gd name="T3" fmla="*/ 861 h 902"/>
                <a:gd name="T4" fmla="*/ 31 w 902"/>
                <a:gd name="T5" fmla="*/ 839 h 902"/>
                <a:gd name="T6" fmla="*/ 234 w 902"/>
                <a:gd name="T7" fmla="*/ 597 h 902"/>
                <a:gd name="T8" fmla="*/ 246 w 902"/>
                <a:gd name="T9" fmla="*/ 599 h 902"/>
                <a:gd name="T10" fmla="*/ 255 w 902"/>
                <a:gd name="T11" fmla="*/ 593 h 902"/>
                <a:gd name="T12" fmla="*/ 258 w 902"/>
                <a:gd name="T13" fmla="*/ 584 h 902"/>
                <a:gd name="T14" fmla="*/ 255 w 902"/>
                <a:gd name="T15" fmla="*/ 575 h 902"/>
                <a:gd name="T16" fmla="*/ 181 w 902"/>
                <a:gd name="T17" fmla="*/ 524 h 902"/>
                <a:gd name="T18" fmla="*/ 722 w 902"/>
                <a:gd name="T19" fmla="*/ 524 h 902"/>
                <a:gd name="T20" fmla="*/ 647 w 902"/>
                <a:gd name="T21" fmla="*/ 575 h 902"/>
                <a:gd name="T22" fmla="*/ 645 w 902"/>
                <a:gd name="T23" fmla="*/ 584 h 902"/>
                <a:gd name="T24" fmla="*/ 647 w 902"/>
                <a:gd name="T25" fmla="*/ 593 h 902"/>
                <a:gd name="T26" fmla="*/ 657 w 902"/>
                <a:gd name="T27" fmla="*/ 599 h 902"/>
                <a:gd name="T28" fmla="*/ 669 w 902"/>
                <a:gd name="T29" fmla="*/ 597 h 902"/>
                <a:gd name="T30" fmla="*/ 871 w 902"/>
                <a:gd name="T31" fmla="*/ 839 h 902"/>
                <a:gd name="T32" fmla="*/ 861 w 902"/>
                <a:gd name="T33" fmla="*/ 861 h 902"/>
                <a:gd name="T34" fmla="*/ 839 w 902"/>
                <a:gd name="T35" fmla="*/ 871 h 902"/>
                <a:gd name="T36" fmla="*/ 43 w 902"/>
                <a:gd name="T37" fmla="*/ 432 h 902"/>
                <a:gd name="T38" fmla="*/ 861 w 902"/>
                <a:gd name="T39" fmla="*/ 432 h 902"/>
                <a:gd name="T40" fmla="*/ 861 w 902"/>
                <a:gd name="T41" fmla="*/ 432 h 902"/>
                <a:gd name="T42" fmla="*/ 902 w 902"/>
                <a:gd name="T43" fmla="*/ 430 h 902"/>
                <a:gd name="T44" fmla="*/ 900 w 902"/>
                <a:gd name="T45" fmla="*/ 424 h 902"/>
                <a:gd name="T46" fmla="*/ 899 w 902"/>
                <a:gd name="T47" fmla="*/ 423 h 902"/>
                <a:gd name="T48" fmla="*/ 896 w 902"/>
                <a:gd name="T49" fmla="*/ 420 h 902"/>
                <a:gd name="T50" fmla="*/ 752 w 902"/>
                <a:gd name="T51" fmla="*/ 322 h 902"/>
                <a:gd name="T52" fmla="*/ 751 w 902"/>
                <a:gd name="T53" fmla="*/ 9 h 902"/>
                <a:gd name="T54" fmla="*/ 746 w 902"/>
                <a:gd name="T55" fmla="*/ 3 h 902"/>
                <a:gd name="T56" fmla="*/ 737 w 902"/>
                <a:gd name="T57" fmla="*/ 0 h 902"/>
                <a:gd name="T58" fmla="*/ 159 w 902"/>
                <a:gd name="T59" fmla="*/ 1 h 902"/>
                <a:gd name="T60" fmla="*/ 153 w 902"/>
                <a:gd name="T61" fmla="*/ 6 h 902"/>
                <a:gd name="T62" fmla="*/ 151 w 902"/>
                <a:gd name="T63" fmla="*/ 15 h 902"/>
                <a:gd name="T64" fmla="*/ 7 w 902"/>
                <a:gd name="T65" fmla="*/ 420 h 902"/>
                <a:gd name="T66" fmla="*/ 5 w 902"/>
                <a:gd name="T67" fmla="*/ 421 h 902"/>
                <a:gd name="T68" fmla="*/ 3 w 902"/>
                <a:gd name="T69" fmla="*/ 424 h 902"/>
                <a:gd name="T70" fmla="*/ 1 w 902"/>
                <a:gd name="T71" fmla="*/ 426 h 902"/>
                <a:gd name="T72" fmla="*/ 1 w 902"/>
                <a:gd name="T73" fmla="*/ 430 h 902"/>
                <a:gd name="T74" fmla="*/ 0 w 902"/>
                <a:gd name="T75" fmla="*/ 831 h 902"/>
                <a:gd name="T76" fmla="*/ 3 w 902"/>
                <a:gd name="T77" fmla="*/ 852 h 902"/>
                <a:gd name="T78" fmla="*/ 13 w 902"/>
                <a:gd name="T79" fmla="*/ 870 h 902"/>
                <a:gd name="T80" fmla="*/ 26 w 902"/>
                <a:gd name="T81" fmla="*/ 886 h 902"/>
                <a:gd name="T82" fmla="*/ 44 w 902"/>
                <a:gd name="T83" fmla="*/ 897 h 902"/>
                <a:gd name="T84" fmla="*/ 65 w 902"/>
                <a:gd name="T85" fmla="*/ 902 h 902"/>
                <a:gd name="T86" fmla="*/ 838 w 902"/>
                <a:gd name="T87" fmla="*/ 902 h 902"/>
                <a:gd name="T88" fmla="*/ 858 w 902"/>
                <a:gd name="T89" fmla="*/ 897 h 902"/>
                <a:gd name="T90" fmla="*/ 877 w 902"/>
                <a:gd name="T91" fmla="*/ 886 h 902"/>
                <a:gd name="T92" fmla="*/ 891 w 902"/>
                <a:gd name="T93" fmla="*/ 870 h 902"/>
                <a:gd name="T94" fmla="*/ 899 w 902"/>
                <a:gd name="T95" fmla="*/ 852 h 902"/>
                <a:gd name="T96" fmla="*/ 902 w 902"/>
                <a:gd name="T97" fmla="*/ 831 h 902"/>
                <a:gd name="T98" fmla="*/ 902 w 902"/>
                <a:gd name="T99" fmla="*/ 43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902" h="902">
                  <a:moveTo>
                    <a:pt x="831" y="872"/>
                  </a:moveTo>
                  <a:lnTo>
                    <a:pt x="71" y="872"/>
                  </a:lnTo>
                  <a:lnTo>
                    <a:pt x="64" y="871"/>
                  </a:lnTo>
                  <a:lnTo>
                    <a:pt x="55" y="869"/>
                  </a:lnTo>
                  <a:lnTo>
                    <a:pt x="49" y="865"/>
                  </a:lnTo>
                  <a:lnTo>
                    <a:pt x="43" y="861"/>
                  </a:lnTo>
                  <a:lnTo>
                    <a:pt x="37" y="854"/>
                  </a:lnTo>
                  <a:lnTo>
                    <a:pt x="33" y="847"/>
                  </a:lnTo>
                  <a:lnTo>
                    <a:pt x="31" y="839"/>
                  </a:lnTo>
                  <a:lnTo>
                    <a:pt x="30" y="831"/>
                  </a:lnTo>
                  <a:lnTo>
                    <a:pt x="30" y="461"/>
                  </a:lnTo>
                  <a:lnTo>
                    <a:pt x="234" y="597"/>
                  </a:lnTo>
                  <a:lnTo>
                    <a:pt x="239" y="598"/>
                  </a:lnTo>
                  <a:lnTo>
                    <a:pt x="243" y="599"/>
                  </a:lnTo>
                  <a:lnTo>
                    <a:pt x="246" y="599"/>
                  </a:lnTo>
                  <a:lnTo>
                    <a:pt x="249" y="597"/>
                  </a:lnTo>
                  <a:lnTo>
                    <a:pt x="253" y="595"/>
                  </a:lnTo>
                  <a:lnTo>
                    <a:pt x="255" y="593"/>
                  </a:lnTo>
                  <a:lnTo>
                    <a:pt x="257" y="589"/>
                  </a:lnTo>
                  <a:lnTo>
                    <a:pt x="257" y="587"/>
                  </a:lnTo>
                  <a:lnTo>
                    <a:pt x="258" y="584"/>
                  </a:lnTo>
                  <a:lnTo>
                    <a:pt x="257" y="581"/>
                  </a:lnTo>
                  <a:lnTo>
                    <a:pt x="257" y="579"/>
                  </a:lnTo>
                  <a:lnTo>
                    <a:pt x="255" y="575"/>
                  </a:lnTo>
                  <a:lnTo>
                    <a:pt x="254" y="573"/>
                  </a:lnTo>
                  <a:lnTo>
                    <a:pt x="251" y="571"/>
                  </a:lnTo>
                  <a:lnTo>
                    <a:pt x="181" y="524"/>
                  </a:lnTo>
                  <a:lnTo>
                    <a:pt x="181" y="30"/>
                  </a:lnTo>
                  <a:lnTo>
                    <a:pt x="722" y="30"/>
                  </a:lnTo>
                  <a:lnTo>
                    <a:pt x="722" y="524"/>
                  </a:lnTo>
                  <a:lnTo>
                    <a:pt x="652" y="571"/>
                  </a:lnTo>
                  <a:lnTo>
                    <a:pt x="649" y="573"/>
                  </a:lnTo>
                  <a:lnTo>
                    <a:pt x="647" y="575"/>
                  </a:lnTo>
                  <a:lnTo>
                    <a:pt x="646" y="579"/>
                  </a:lnTo>
                  <a:lnTo>
                    <a:pt x="645" y="581"/>
                  </a:lnTo>
                  <a:lnTo>
                    <a:pt x="645" y="584"/>
                  </a:lnTo>
                  <a:lnTo>
                    <a:pt x="645" y="587"/>
                  </a:lnTo>
                  <a:lnTo>
                    <a:pt x="646" y="589"/>
                  </a:lnTo>
                  <a:lnTo>
                    <a:pt x="647" y="593"/>
                  </a:lnTo>
                  <a:lnTo>
                    <a:pt x="650" y="595"/>
                  </a:lnTo>
                  <a:lnTo>
                    <a:pt x="653" y="597"/>
                  </a:lnTo>
                  <a:lnTo>
                    <a:pt x="657" y="599"/>
                  </a:lnTo>
                  <a:lnTo>
                    <a:pt x="660" y="599"/>
                  </a:lnTo>
                  <a:lnTo>
                    <a:pt x="664" y="598"/>
                  </a:lnTo>
                  <a:lnTo>
                    <a:pt x="669" y="597"/>
                  </a:lnTo>
                  <a:lnTo>
                    <a:pt x="872" y="461"/>
                  </a:lnTo>
                  <a:lnTo>
                    <a:pt x="872" y="831"/>
                  </a:lnTo>
                  <a:lnTo>
                    <a:pt x="871" y="839"/>
                  </a:lnTo>
                  <a:lnTo>
                    <a:pt x="869" y="847"/>
                  </a:lnTo>
                  <a:lnTo>
                    <a:pt x="865" y="854"/>
                  </a:lnTo>
                  <a:lnTo>
                    <a:pt x="861" y="861"/>
                  </a:lnTo>
                  <a:lnTo>
                    <a:pt x="854" y="865"/>
                  </a:lnTo>
                  <a:lnTo>
                    <a:pt x="847" y="869"/>
                  </a:lnTo>
                  <a:lnTo>
                    <a:pt x="839" y="871"/>
                  </a:lnTo>
                  <a:lnTo>
                    <a:pt x="831" y="872"/>
                  </a:lnTo>
                  <a:close/>
                  <a:moveTo>
                    <a:pt x="151" y="505"/>
                  </a:moveTo>
                  <a:lnTo>
                    <a:pt x="43" y="432"/>
                  </a:lnTo>
                  <a:lnTo>
                    <a:pt x="151" y="359"/>
                  </a:lnTo>
                  <a:lnTo>
                    <a:pt x="151" y="505"/>
                  </a:lnTo>
                  <a:close/>
                  <a:moveTo>
                    <a:pt x="861" y="432"/>
                  </a:moveTo>
                  <a:lnTo>
                    <a:pt x="752" y="505"/>
                  </a:lnTo>
                  <a:lnTo>
                    <a:pt x="752" y="359"/>
                  </a:lnTo>
                  <a:lnTo>
                    <a:pt x="861" y="432"/>
                  </a:lnTo>
                  <a:close/>
                  <a:moveTo>
                    <a:pt x="902" y="430"/>
                  </a:moveTo>
                  <a:lnTo>
                    <a:pt x="902" y="430"/>
                  </a:lnTo>
                  <a:lnTo>
                    <a:pt x="902" y="430"/>
                  </a:lnTo>
                  <a:lnTo>
                    <a:pt x="901" y="426"/>
                  </a:lnTo>
                  <a:lnTo>
                    <a:pt x="900" y="424"/>
                  </a:lnTo>
                  <a:lnTo>
                    <a:pt x="900" y="424"/>
                  </a:lnTo>
                  <a:lnTo>
                    <a:pt x="900" y="424"/>
                  </a:lnTo>
                  <a:lnTo>
                    <a:pt x="900" y="423"/>
                  </a:lnTo>
                  <a:lnTo>
                    <a:pt x="899" y="423"/>
                  </a:lnTo>
                  <a:lnTo>
                    <a:pt x="898" y="421"/>
                  </a:lnTo>
                  <a:lnTo>
                    <a:pt x="896" y="420"/>
                  </a:lnTo>
                  <a:lnTo>
                    <a:pt x="896" y="420"/>
                  </a:lnTo>
                  <a:lnTo>
                    <a:pt x="896" y="420"/>
                  </a:lnTo>
                  <a:lnTo>
                    <a:pt x="896" y="420"/>
                  </a:lnTo>
                  <a:lnTo>
                    <a:pt x="752" y="322"/>
                  </a:lnTo>
                  <a:lnTo>
                    <a:pt x="752" y="15"/>
                  </a:lnTo>
                  <a:lnTo>
                    <a:pt x="752" y="11"/>
                  </a:lnTo>
                  <a:lnTo>
                    <a:pt x="751" y="9"/>
                  </a:lnTo>
                  <a:lnTo>
                    <a:pt x="749" y="6"/>
                  </a:lnTo>
                  <a:lnTo>
                    <a:pt x="748" y="4"/>
                  </a:lnTo>
                  <a:lnTo>
                    <a:pt x="746" y="3"/>
                  </a:lnTo>
                  <a:lnTo>
                    <a:pt x="743" y="1"/>
                  </a:lnTo>
                  <a:lnTo>
                    <a:pt x="741" y="0"/>
                  </a:lnTo>
                  <a:lnTo>
                    <a:pt x="737" y="0"/>
                  </a:lnTo>
                  <a:lnTo>
                    <a:pt x="166" y="0"/>
                  </a:lnTo>
                  <a:lnTo>
                    <a:pt x="163" y="0"/>
                  </a:lnTo>
                  <a:lnTo>
                    <a:pt x="159" y="1"/>
                  </a:lnTo>
                  <a:lnTo>
                    <a:pt x="157" y="3"/>
                  </a:lnTo>
                  <a:lnTo>
                    <a:pt x="155" y="4"/>
                  </a:lnTo>
                  <a:lnTo>
                    <a:pt x="153" y="6"/>
                  </a:lnTo>
                  <a:lnTo>
                    <a:pt x="152" y="9"/>
                  </a:lnTo>
                  <a:lnTo>
                    <a:pt x="151" y="11"/>
                  </a:lnTo>
                  <a:lnTo>
                    <a:pt x="151" y="15"/>
                  </a:lnTo>
                  <a:lnTo>
                    <a:pt x="151" y="322"/>
                  </a:lnTo>
                  <a:lnTo>
                    <a:pt x="7" y="420"/>
                  </a:lnTo>
                  <a:lnTo>
                    <a:pt x="7" y="420"/>
                  </a:lnTo>
                  <a:lnTo>
                    <a:pt x="7" y="420"/>
                  </a:lnTo>
                  <a:lnTo>
                    <a:pt x="6" y="420"/>
                  </a:lnTo>
                  <a:lnTo>
                    <a:pt x="5" y="421"/>
                  </a:lnTo>
                  <a:lnTo>
                    <a:pt x="3" y="423"/>
                  </a:lnTo>
                  <a:lnTo>
                    <a:pt x="3" y="423"/>
                  </a:lnTo>
                  <a:lnTo>
                    <a:pt x="3" y="424"/>
                  </a:lnTo>
                  <a:lnTo>
                    <a:pt x="3" y="424"/>
                  </a:lnTo>
                  <a:lnTo>
                    <a:pt x="2" y="424"/>
                  </a:lnTo>
                  <a:lnTo>
                    <a:pt x="1" y="426"/>
                  </a:lnTo>
                  <a:lnTo>
                    <a:pt x="1" y="430"/>
                  </a:lnTo>
                  <a:lnTo>
                    <a:pt x="1" y="430"/>
                  </a:lnTo>
                  <a:lnTo>
                    <a:pt x="1" y="430"/>
                  </a:lnTo>
                  <a:lnTo>
                    <a:pt x="0" y="431"/>
                  </a:lnTo>
                  <a:lnTo>
                    <a:pt x="0" y="432"/>
                  </a:lnTo>
                  <a:lnTo>
                    <a:pt x="0" y="831"/>
                  </a:lnTo>
                  <a:lnTo>
                    <a:pt x="1" y="838"/>
                  </a:lnTo>
                  <a:lnTo>
                    <a:pt x="2" y="845"/>
                  </a:lnTo>
                  <a:lnTo>
                    <a:pt x="3" y="852"/>
                  </a:lnTo>
                  <a:lnTo>
                    <a:pt x="6" y="858"/>
                  </a:lnTo>
                  <a:lnTo>
                    <a:pt x="8" y="865"/>
                  </a:lnTo>
                  <a:lnTo>
                    <a:pt x="13" y="870"/>
                  </a:lnTo>
                  <a:lnTo>
                    <a:pt x="17" y="877"/>
                  </a:lnTo>
                  <a:lnTo>
                    <a:pt x="21" y="881"/>
                  </a:lnTo>
                  <a:lnTo>
                    <a:pt x="26" y="886"/>
                  </a:lnTo>
                  <a:lnTo>
                    <a:pt x="32" y="891"/>
                  </a:lnTo>
                  <a:lnTo>
                    <a:pt x="37" y="894"/>
                  </a:lnTo>
                  <a:lnTo>
                    <a:pt x="44" y="897"/>
                  </a:lnTo>
                  <a:lnTo>
                    <a:pt x="50" y="899"/>
                  </a:lnTo>
                  <a:lnTo>
                    <a:pt x="58" y="901"/>
                  </a:lnTo>
                  <a:lnTo>
                    <a:pt x="65" y="902"/>
                  </a:lnTo>
                  <a:lnTo>
                    <a:pt x="71" y="902"/>
                  </a:lnTo>
                  <a:lnTo>
                    <a:pt x="831" y="902"/>
                  </a:lnTo>
                  <a:lnTo>
                    <a:pt x="838" y="902"/>
                  </a:lnTo>
                  <a:lnTo>
                    <a:pt x="846" y="901"/>
                  </a:lnTo>
                  <a:lnTo>
                    <a:pt x="852" y="899"/>
                  </a:lnTo>
                  <a:lnTo>
                    <a:pt x="858" y="897"/>
                  </a:lnTo>
                  <a:lnTo>
                    <a:pt x="865" y="894"/>
                  </a:lnTo>
                  <a:lnTo>
                    <a:pt x="871" y="891"/>
                  </a:lnTo>
                  <a:lnTo>
                    <a:pt x="877" y="886"/>
                  </a:lnTo>
                  <a:lnTo>
                    <a:pt x="881" y="881"/>
                  </a:lnTo>
                  <a:lnTo>
                    <a:pt x="886" y="877"/>
                  </a:lnTo>
                  <a:lnTo>
                    <a:pt x="891" y="870"/>
                  </a:lnTo>
                  <a:lnTo>
                    <a:pt x="894" y="865"/>
                  </a:lnTo>
                  <a:lnTo>
                    <a:pt x="897" y="858"/>
                  </a:lnTo>
                  <a:lnTo>
                    <a:pt x="899" y="852"/>
                  </a:lnTo>
                  <a:lnTo>
                    <a:pt x="901" y="846"/>
                  </a:lnTo>
                  <a:lnTo>
                    <a:pt x="902" y="838"/>
                  </a:lnTo>
                  <a:lnTo>
                    <a:pt x="902" y="831"/>
                  </a:lnTo>
                  <a:lnTo>
                    <a:pt x="902" y="432"/>
                  </a:lnTo>
                  <a:lnTo>
                    <a:pt x="902" y="431"/>
                  </a:lnTo>
                  <a:lnTo>
                    <a:pt x="902" y="4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15">
              <a:extLst>
                <a:ext uri="{FF2B5EF4-FFF2-40B4-BE49-F238E27FC236}">
                  <a16:creationId xmlns:a16="http://schemas.microsoft.com/office/drawing/2014/main" id="{B839F873-E713-4EA9-BC24-B3FA6B373A05}"/>
                </a:ext>
              </a:extLst>
            </p:cNvPr>
            <p:cNvSpPr>
              <a:spLocks/>
            </p:cNvSpPr>
            <p:nvPr/>
          </p:nvSpPr>
          <p:spPr bwMode="auto">
            <a:xfrm>
              <a:off x="4926013" y="2682875"/>
              <a:ext cx="219075" cy="61913"/>
            </a:xfrm>
            <a:custGeom>
              <a:avLst/>
              <a:gdLst>
                <a:gd name="T0" fmla="*/ 491 w 691"/>
                <a:gd name="T1" fmla="*/ 4 h 196"/>
                <a:gd name="T2" fmla="*/ 486 w 691"/>
                <a:gd name="T3" fmla="*/ 1 h 196"/>
                <a:gd name="T4" fmla="*/ 481 w 691"/>
                <a:gd name="T5" fmla="*/ 0 h 196"/>
                <a:gd name="T6" fmla="*/ 210 w 691"/>
                <a:gd name="T7" fmla="*/ 0 h 196"/>
                <a:gd name="T8" fmla="*/ 205 w 691"/>
                <a:gd name="T9" fmla="*/ 1 h 196"/>
                <a:gd name="T10" fmla="*/ 200 w 691"/>
                <a:gd name="T11" fmla="*/ 4 h 196"/>
                <a:gd name="T12" fmla="*/ 4 w 691"/>
                <a:gd name="T13" fmla="*/ 170 h 196"/>
                <a:gd name="T14" fmla="*/ 2 w 691"/>
                <a:gd name="T15" fmla="*/ 172 h 196"/>
                <a:gd name="T16" fmla="*/ 1 w 691"/>
                <a:gd name="T17" fmla="*/ 174 h 196"/>
                <a:gd name="T18" fmla="*/ 0 w 691"/>
                <a:gd name="T19" fmla="*/ 177 h 196"/>
                <a:gd name="T20" fmla="*/ 0 w 691"/>
                <a:gd name="T21" fmla="*/ 180 h 196"/>
                <a:gd name="T22" fmla="*/ 0 w 691"/>
                <a:gd name="T23" fmla="*/ 182 h 196"/>
                <a:gd name="T24" fmla="*/ 0 w 691"/>
                <a:gd name="T25" fmla="*/ 186 h 196"/>
                <a:gd name="T26" fmla="*/ 1 w 691"/>
                <a:gd name="T27" fmla="*/ 189 h 196"/>
                <a:gd name="T28" fmla="*/ 3 w 691"/>
                <a:gd name="T29" fmla="*/ 191 h 196"/>
                <a:gd name="T30" fmla="*/ 5 w 691"/>
                <a:gd name="T31" fmla="*/ 193 h 196"/>
                <a:gd name="T32" fmla="*/ 7 w 691"/>
                <a:gd name="T33" fmla="*/ 194 h 196"/>
                <a:gd name="T34" fmla="*/ 11 w 691"/>
                <a:gd name="T35" fmla="*/ 195 h 196"/>
                <a:gd name="T36" fmla="*/ 13 w 691"/>
                <a:gd name="T37" fmla="*/ 196 h 196"/>
                <a:gd name="T38" fmla="*/ 16 w 691"/>
                <a:gd name="T39" fmla="*/ 196 h 196"/>
                <a:gd name="T40" fmla="*/ 19 w 691"/>
                <a:gd name="T41" fmla="*/ 195 h 196"/>
                <a:gd name="T42" fmla="*/ 21 w 691"/>
                <a:gd name="T43" fmla="*/ 194 h 196"/>
                <a:gd name="T44" fmla="*/ 24 w 691"/>
                <a:gd name="T45" fmla="*/ 193 h 196"/>
                <a:gd name="T46" fmla="*/ 215 w 691"/>
                <a:gd name="T47" fmla="*/ 31 h 196"/>
                <a:gd name="T48" fmla="*/ 475 w 691"/>
                <a:gd name="T49" fmla="*/ 31 h 196"/>
                <a:gd name="T50" fmla="*/ 667 w 691"/>
                <a:gd name="T51" fmla="*/ 193 h 196"/>
                <a:gd name="T52" fmla="*/ 671 w 691"/>
                <a:gd name="T53" fmla="*/ 195 h 196"/>
                <a:gd name="T54" fmla="*/ 676 w 691"/>
                <a:gd name="T55" fmla="*/ 196 h 196"/>
                <a:gd name="T56" fmla="*/ 680 w 691"/>
                <a:gd name="T57" fmla="*/ 196 h 196"/>
                <a:gd name="T58" fmla="*/ 683 w 691"/>
                <a:gd name="T59" fmla="*/ 195 h 196"/>
                <a:gd name="T60" fmla="*/ 685 w 691"/>
                <a:gd name="T61" fmla="*/ 193 h 196"/>
                <a:gd name="T62" fmla="*/ 688 w 691"/>
                <a:gd name="T63" fmla="*/ 191 h 196"/>
                <a:gd name="T64" fmla="*/ 689 w 691"/>
                <a:gd name="T65" fmla="*/ 189 h 196"/>
                <a:gd name="T66" fmla="*/ 690 w 691"/>
                <a:gd name="T67" fmla="*/ 186 h 196"/>
                <a:gd name="T68" fmla="*/ 691 w 691"/>
                <a:gd name="T69" fmla="*/ 182 h 196"/>
                <a:gd name="T70" fmla="*/ 691 w 691"/>
                <a:gd name="T71" fmla="*/ 180 h 196"/>
                <a:gd name="T72" fmla="*/ 690 w 691"/>
                <a:gd name="T73" fmla="*/ 177 h 196"/>
                <a:gd name="T74" fmla="*/ 689 w 691"/>
                <a:gd name="T75" fmla="*/ 174 h 196"/>
                <a:gd name="T76" fmla="*/ 688 w 691"/>
                <a:gd name="T77" fmla="*/ 172 h 196"/>
                <a:gd name="T78" fmla="*/ 686 w 691"/>
                <a:gd name="T79" fmla="*/ 170 h 196"/>
                <a:gd name="T80" fmla="*/ 491 w 691"/>
                <a:gd name="T81" fmla="*/ 4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691" h="196">
                  <a:moveTo>
                    <a:pt x="491" y="4"/>
                  </a:moveTo>
                  <a:lnTo>
                    <a:pt x="486" y="1"/>
                  </a:lnTo>
                  <a:lnTo>
                    <a:pt x="481" y="0"/>
                  </a:lnTo>
                  <a:lnTo>
                    <a:pt x="210" y="0"/>
                  </a:lnTo>
                  <a:lnTo>
                    <a:pt x="205" y="1"/>
                  </a:lnTo>
                  <a:lnTo>
                    <a:pt x="200" y="4"/>
                  </a:lnTo>
                  <a:lnTo>
                    <a:pt x="4" y="170"/>
                  </a:lnTo>
                  <a:lnTo>
                    <a:pt x="2" y="172"/>
                  </a:lnTo>
                  <a:lnTo>
                    <a:pt x="1" y="174"/>
                  </a:lnTo>
                  <a:lnTo>
                    <a:pt x="0" y="177"/>
                  </a:lnTo>
                  <a:lnTo>
                    <a:pt x="0" y="180"/>
                  </a:lnTo>
                  <a:lnTo>
                    <a:pt x="0" y="182"/>
                  </a:lnTo>
                  <a:lnTo>
                    <a:pt x="0" y="186"/>
                  </a:lnTo>
                  <a:lnTo>
                    <a:pt x="1" y="189"/>
                  </a:lnTo>
                  <a:lnTo>
                    <a:pt x="3" y="191"/>
                  </a:lnTo>
                  <a:lnTo>
                    <a:pt x="5" y="193"/>
                  </a:lnTo>
                  <a:lnTo>
                    <a:pt x="7" y="194"/>
                  </a:lnTo>
                  <a:lnTo>
                    <a:pt x="11" y="195"/>
                  </a:lnTo>
                  <a:lnTo>
                    <a:pt x="13" y="196"/>
                  </a:lnTo>
                  <a:lnTo>
                    <a:pt x="16" y="196"/>
                  </a:lnTo>
                  <a:lnTo>
                    <a:pt x="19" y="195"/>
                  </a:lnTo>
                  <a:lnTo>
                    <a:pt x="21" y="194"/>
                  </a:lnTo>
                  <a:lnTo>
                    <a:pt x="24" y="193"/>
                  </a:lnTo>
                  <a:lnTo>
                    <a:pt x="215" y="31"/>
                  </a:lnTo>
                  <a:lnTo>
                    <a:pt x="475" y="31"/>
                  </a:lnTo>
                  <a:lnTo>
                    <a:pt x="667" y="193"/>
                  </a:lnTo>
                  <a:lnTo>
                    <a:pt x="671" y="195"/>
                  </a:lnTo>
                  <a:lnTo>
                    <a:pt x="676" y="196"/>
                  </a:lnTo>
                  <a:lnTo>
                    <a:pt x="680" y="196"/>
                  </a:lnTo>
                  <a:lnTo>
                    <a:pt x="683" y="195"/>
                  </a:lnTo>
                  <a:lnTo>
                    <a:pt x="685" y="193"/>
                  </a:lnTo>
                  <a:lnTo>
                    <a:pt x="688" y="191"/>
                  </a:lnTo>
                  <a:lnTo>
                    <a:pt x="689" y="189"/>
                  </a:lnTo>
                  <a:lnTo>
                    <a:pt x="690" y="186"/>
                  </a:lnTo>
                  <a:lnTo>
                    <a:pt x="691" y="182"/>
                  </a:lnTo>
                  <a:lnTo>
                    <a:pt x="691" y="180"/>
                  </a:lnTo>
                  <a:lnTo>
                    <a:pt x="690" y="177"/>
                  </a:lnTo>
                  <a:lnTo>
                    <a:pt x="689" y="174"/>
                  </a:lnTo>
                  <a:lnTo>
                    <a:pt x="688" y="172"/>
                  </a:lnTo>
                  <a:lnTo>
                    <a:pt x="686" y="170"/>
                  </a:lnTo>
                  <a:lnTo>
                    <a:pt x="491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16">
              <a:extLst>
                <a:ext uri="{FF2B5EF4-FFF2-40B4-BE49-F238E27FC236}">
                  <a16:creationId xmlns:a16="http://schemas.microsoft.com/office/drawing/2014/main" id="{00F722FB-81F0-40B7-97E9-2B2D079D7339}"/>
                </a:ext>
              </a:extLst>
            </p:cNvPr>
            <p:cNvSpPr>
              <a:spLocks/>
            </p:cNvSpPr>
            <p:nvPr/>
          </p:nvSpPr>
          <p:spPr bwMode="auto">
            <a:xfrm>
              <a:off x="4978400" y="2528888"/>
              <a:ext cx="33338" cy="11113"/>
            </a:xfrm>
            <a:custGeom>
              <a:avLst/>
              <a:gdLst>
                <a:gd name="T0" fmla="*/ 15 w 105"/>
                <a:gd name="T1" fmla="*/ 31 h 31"/>
                <a:gd name="T2" fmla="*/ 90 w 105"/>
                <a:gd name="T3" fmla="*/ 31 h 31"/>
                <a:gd name="T4" fmla="*/ 93 w 105"/>
                <a:gd name="T5" fmla="*/ 30 h 31"/>
                <a:gd name="T6" fmla="*/ 95 w 105"/>
                <a:gd name="T7" fmla="*/ 29 h 31"/>
                <a:gd name="T8" fmla="*/ 99 w 105"/>
                <a:gd name="T9" fmla="*/ 28 h 31"/>
                <a:gd name="T10" fmla="*/ 101 w 105"/>
                <a:gd name="T11" fmla="*/ 25 h 31"/>
                <a:gd name="T12" fmla="*/ 103 w 105"/>
                <a:gd name="T13" fmla="*/ 23 h 31"/>
                <a:gd name="T14" fmla="*/ 104 w 105"/>
                <a:gd name="T15" fmla="*/ 21 h 31"/>
                <a:gd name="T16" fmla="*/ 105 w 105"/>
                <a:gd name="T17" fmla="*/ 18 h 31"/>
                <a:gd name="T18" fmla="*/ 105 w 105"/>
                <a:gd name="T19" fmla="*/ 15 h 31"/>
                <a:gd name="T20" fmla="*/ 105 w 105"/>
                <a:gd name="T21" fmla="*/ 13 h 31"/>
                <a:gd name="T22" fmla="*/ 104 w 105"/>
                <a:gd name="T23" fmla="*/ 9 h 31"/>
                <a:gd name="T24" fmla="*/ 103 w 105"/>
                <a:gd name="T25" fmla="*/ 7 h 31"/>
                <a:gd name="T26" fmla="*/ 101 w 105"/>
                <a:gd name="T27" fmla="*/ 5 h 31"/>
                <a:gd name="T28" fmla="*/ 99 w 105"/>
                <a:gd name="T29" fmla="*/ 3 h 31"/>
                <a:gd name="T30" fmla="*/ 95 w 105"/>
                <a:gd name="T31" fmla="*/ 2 h 31"/>
                <a:gd name="T32" fmla="*/ 93 w 105"/>
                <a:gd name="T33" fmla="*/ 1 h 31"/>
                <a:gd name="T34" fmla="*/ 90 w 105"/>
                <a:gd name="T35" fmla="*/ 0 h 31"/>
                <a:gd name="T36" fmla="*/ 15 w 105"/>
                <a:gd name="T37" fmla="*/ 0 h 31"/>
                <a:gd name="T38" fmla="*/ 12 w 105"/>
                <a:gd name="T39" fmla="*/ 1 h 31"/>
                <a:gd name="T40" fmla="*/ 8 w 105"/>
                <a:gd name="T41" fmla="*/ 2 h 31"/>
                <a:gd name="T42" fmla="*/ 6 w 105"/>
                <a:gd name="T43" fmla="*/ 3 h 31"/>
                <a:gd name="T44" fmla="*/ 4 w 105"/>
                <a:gd name="T45" fmla="*/ 5 h 31"/>
                <a:gd name="T46" fmla="*/ 2 w 105"/>
                <a:gd name="T47" fmla="*/ 7 h 31"/>
                <a:gd name="T48" fmla="*/ 1 w 105"/>
                <a:gd name="T49" fmla="*/ 9 h 31"/>
                <a:gd name="T50" fmla="*/ 0 w 105"/>
                <a:gd name="T51" fmla="*/ 13 h 31"/>
                <a:gd name="T52" fmla="*/ 0 w 105"/>
                <a:gd name="T53" fmla="*/ 15 h 31"/>
                <a:gd name="T54" fmla="*/ 0 w 105"/>
                <a:gd name="T55" fmla="*/ 18 h 31"/>
                <a:gd name="T56" fmla="*/ 1 w 105"/>
                <a:gd name="T57" fmla="*/ 21 h 31"/>
                <a:gd name="T58" fmla="*/ 2 w 105"/>
                <a:gd name="T59" fmla="*/ 23 h 31"/>
                <a:gd name="T60" fmla="*/ 4 w 105"/>
                <a:gd name="T61" fmla="*/ 25 h 31"/>
                <a:gd name="T62" fmla="*/ 6 w 105"/>
                <a:gd name="T63" fmla="*/ 28 h 31"/>
                <a:gd name="T64" fmla="*/ 8 w 105"/>
                <a:gd name="T65" fmla="*/ 29 h 31"/>
                <a:gd name="T66" fmla="*/ 12 w 105"/>
                <a:gd name="T67" fmla="*/ 30 h 31"/>
                <a:gd name="T68" fmla="*/ 15 w 105"/>
                <a:gd name="T69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05" h="31">
                  <a:moveTo>
                    <a:pt x="15" y="31"/>
                  </a:moveTo>
                  <a:lnTo>
                    <a:pt x="90" y="31"/>
                  </a:lnTo>
                  <a:lnTo>
                    <a:pt x="93" y="30"/>
                  </a:lnTo>
                  <a:lnTo>
                    <a:pt x="95" y="29"/>
                  </a:lnTo>
                  <a:lnTo>
                    <a:pt x="99" y="28"/>
                  </a:lnTo>
                  <a:lnTo>
                    <a:pt x="101" y="25"/>
                  </a:lnTo>
                  <a:lnTo>
                    <a:pt x="103" y="23"/>
                  </a:lnTo>
                  <a:lnTo>
                    <a:pt x="104" y="21"/>
                  </a:lnTo>
                  <a:lnTo>
                    <a:pt x="105" y="18"/>
                  </a:lnTo>
                  <a:lnTo>
                    <a:pt x="105" y="15"/>
                  </a:lnTo>
                  <a:lnTo>
                    <a:pt x="105" y="13"/>
                  </a:lnTo>
                  <a:lnTo>
                    <a:pt x="104" y="9"/>
                  </a:lnTo>
                  <a:lnTo>
                    <a:pt x="103" y="7"/>
                  </a:lnTo>
                  <a:lnTo>
                    <a:pt x="101" y="5"/>
                  </a:lnTo>
                  <a:lnTo>
                    <a:pt x="99" y="3"/>
                  </a:lnTo>
                  <a:lnTo>
                    <a:pt x="95" y="2"/>
                  </a:lnTo>
                  <a:lnTo>
                    <a:pt x="93" y="1"/>
                  </a:lnTo>
                  <a:lnTo>
                    <a:pt x="90" y="0"/>
                  </a:lnTo>
                  <a:lnTo>
                    <a:pt x="15" y="0"/>
                  </a:lnTo>
                  <a:lnTo>
                    <a:pt x="12" y="1"/>
                  </a:lnTo>
                  <a:lnTo>
                    <a:pt x="8" y="2"/>
                  </a:lnTo>
                  <a:lnTo>
                    <a:pt x="6" y="3"/>
                  </a:lnTo>
                  <a:lnTo>
                    <a:pt x="4" y="5"/>
                  </a:lnTo>
                  <a:lnTo>
                    <a:pt x="2" y="7"/>
                  </a:lnTo>
                  <a:lnTo>
                    <a:pt x="1" y="9"/>
                  </a:lnTo>
                  <a:lnTo>
                    <a:pt x="0" y="13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1" y="21"/>
                  </a:lnTo>
                  <a:lnTo>
                    <a:pt x="2" y="23"/>
                  </a:lnTo>
                  <a:lnTo>
                    <a:pt x="4" y="25"/>
                  </a:lnTo>
                  <a:lnTo>
                    <a:pt x="6" y="28"/>
                  </a:lnTo>
                  <a:lnTo>
                    <a:pt x="8" y="29"/>
                  </a:lnTo>
                  <a:lnTo>
                    <a:pt x="12" y="30"/>
                  </a:lnTo>
                  <a:lnTo>
                    <a:pt x="15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17">
              <a:extLst>
                <a:ext uri="{FF2B5EF4-FFF2-40B4-BE49-F238E27FC236}">
                  <a16:creationId xmlns:a16="http://schemas.microsoft.com/office/drawing/2014/main" id="{573073B9-E9DD-4B3E-97A6-303B8ACB862F}"/>
                </a:ext>
              </a:extLst>
            </p:cNvPr>
            <p:cNvSpPr>
              <a:spLocks/>
            </p:cNvSpPr>
            <p:nvPr/>
          </p:nvSpPr>
          <p:spPr bwMode="auto">
            <a:xfrm>
              <a:off x="5002213" y="2559050"/>
              <a:ext cx="90488" cy="9525"/>
            </a:xfrm>
            <a:custGeom>
              <a:avLst/>
              <a:gdLst>
                <a:gd name="T0" fmla="*/ 0 w 286"/>
                <a:gd name="T1" fmla="*/ 15 h 30"/>
                <a:gd name="T2" fmla="*/ 0 w 286"/>
                <a:gd name="T3" fmla="*/ 17 h 30"/>
                <a:gd name="T4" fmla="*/ 1 w 286"/>
                <a:gd name="T5" fmla="*/ 20 h 30"/>
                <a:gd name="T6" fmla="*/ 2 w 286"/>
                <a:gd name="T7" fmla="*/ 22 h 30"/>
                <a:gd name="T8" fmla="*/ 4 w 286"/>
                <a:gd name="T9" fmla="*/ 26 h 30"/>
                <a:gd name="T10" fmla="*/ 6 w 286"/>
                <a:gd name="T11" fmla="*/ 27 h 30"/>
                <a:gd name="T12" fmla="*/ 10 w 286"/>
                <a:gd name="T13" fmla="*/ 29 h 30"/>
                <a:gd name="T14" fmla="*/ 12 w 286"/>
                <a:gd name="T15" fmla="*/ 29 h 30"/>
                <a:gd name="T16" fmla="*/ 15 w 286"/>
                <a:gd name="T17" fmla="*/ 30 h 30"/>
                <a:gd name="T18" fmla="*/ 271 w 286"/>
                <a:gd name="T19" fmla="*/ 30 h 30"/>
                <a:gd name="T20" fmla="*/ 273 w 286"/>
                <a:gd name="T21" fmla="*/ 29 h 30"/>
                <a:gd name="T22" fmla="*/ 277 w 286"/>
                <a:gd name="T23" fmla="*/ 29 h 30"/>
                <a:gd name="T24" fmla="*/ 279 w 286"/>
                <a:gd name="T25" fmla="*/ 27 h 30"/>
                <a:gd name="T26" fmla="*/ 281 w 286"/>
                <a:gd name="T27" fmla="*/ 26 h 30"/>
                <a:gd name="T28" fmla="*/ 283 w 286"/>
                <a:gd name="T29" fmla="*/ 22 h 30"/>
                <a:gd name="T30" fmla="*/ 285 w 286"/>
                <a:gd name="T31" fmla="*/ 20 h 30"/>
                <a:gd name="T32" fmla="*/ 285 w 286"/>
                <a:gd name="T33" fmla="*/ 17 h 30"/>
                <a:gd name="T34" fmla="*/ 286 w 286"/>
                <a:gd name="T35" fmla="*/ 15 h 30"/>
                <a:gd name="T36" fmla="*/ 285 w 286"/>
                <a:gd name="T37" fmla="*/ 12 h 30"/>
                <a:gd name="T38" fmla="*/ 285 w 286"/>
                <a:gd name="T39" fmla="*/ 8 h 30"/>
                <a:gd name="T40" fmla="*/ 283 w 286"/>
                <a:gd name="T41" fmla="*/ 6 h 30"/>
                <a:gd name="T42" fmla="*/ 281 w 286"/>
                <a:gd name="T43" fmla="*/ 4 h 30"/>
                <a:gd name="T44" fmla="*/ 279 w 286"/>
                <a:gd name="T45" fmla="*/ 2 h 30"/>
                <a:gd name="T46" fmla="*/ 277 w 286"/>
                <a:gd name="T47" fmla="*/ 1 h 30"/>
                <a:gd name="T48" fmla="*/ 273 w 286"/>
                <a:gd name="T49" fmla="*/ 0 h 30"/>
                <a:gd name="T50" fmla="*/ 271 w 286"/>
                <a:gd name="T51" fmla="*/ 0 h 30"/>
                <a:gd name="T52" fmla="*/ 15 w 286"/>
                <a:gd name="T53" fmla="*/ 0 h 30"/>
                <a:gd name="T54" fmla="*/ 12 w 286"/>
                <a:gd name="T55" fmla="*/ 0 h 30"/>
                <a:gd name="T56" fmla="*/ 10 w 286"/>
                <a:gd name="T57" fmla="*/ 1 h 30"/>
                <a:gd name="T58" fmla="*/ 6 w 286"/>
                <a:gd name="T59" fmla="*/ 2 h 30"/>
                <a:gd name="T60" fmla="*/ 4 w 286"/>
                <a:gd name="T61" fmla="*/ 4 h 30"/>
                <a:gd name="T62" fmla="*/ 2 w 286"/>
                <a:gd name="T63" fmla="*/ 6 h 30"/>
                <a:gd name="T64" fmla="*/ 1 w 286"/>
                <a:gd name="T65" fmla="*/ 8 h 30"/>
                <a:gd name="T66" fmla="*/ 0 w 286"/>
                <a:gd name="T67" fmla="*/ 12 h 30"/>
                <a:gd name="T68" fmla="*/ 0 w 286"/>
                <a:gd name="T69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86" h="30">
                  <a:moveTo>
                    <a:pt x="0" y="15"/>
                  </a:moveTo>
                  <a:lnTo>
                    <a:pt x="0" y="17"/>
                  </a:lnTo>
                  <a:lnTo>
                    <a:pt x="1" y="20"/>
                  </a:lnTo>
                  <a:lnTo>
                    <a:pt x="2" y="22"/>
                  </a:lnTo>
                  <a:lnTo>
                    <a:pt x="4" y="26"/>
                  </a:lnTo>
                  <a:lnTo>
                    <a:pt x="6" y="27"/>
                  </a:lnTo>
                  <a:lnTo>
                    <a:pt x="10" y="29"/>
                  </a:lnTo>
                  <a:lnTo>
                    <a:pt x="12" y="29"/>
                  </a:lnTo>
                  <a:lnTo>
                    <a:pt x="15" y="30"/>
                  </a:lnTo>
                  <a:lnTo>
                    <a:pt x="271" y="30"/>
                  </a:lnTo>
                  <a:lnTo>
                    <a:pt x="273" y="29"/>
                  </a:lnTo>
                  <a:lnTo>
                    <a:pt x="277" y="29"/>
                  </a:lnTo>
                  <a:lnTo>
                    <a:pt x="279" y="27"/>
                  </a:lnTo>
                  <a:lnTo>
                    <a:pt x="281" y="26"/>
                  </a:lnTo>
                  <a:lnTo>
                    <a:pt x="283" y="22"/>
                  </a:lnTo>
                  <a:lnTo>
                    <a:pt x="285" y="20"/>
                  </a:lnTo>
                  <a:lnTo>
                    <a:pt x="285" y="17"/>
                  </a:lnTo>
                  <a:lnTo>
                    <a:pt x="286" y="15"/>
                  </a:lnTo>
                  <a:lnTo>
                    <a:pt x="285" y="12"/>
                  </a:lnTo>
                  <a:lnTo>
                    <a:pt x="285" y="8"/>
                  </a:lnTo>
                  <a:lnTo>
                    <a:pt x="283" y="6"/>
                  </a:lnTo>
                  <a:lnTo>
                    <a:pt x="281" y="4"/>
                  </a:lnTo>
                  <a:lnTo>
                    <a:pt x="279" y="2"/>
                  </a:lnTo>
                  <a:lnTo>
                    <a:pt x="277" y="1"/>
                  </a:lnTo>
                  <a:lnTo>
                    <a:pt x="273" y="0"/>
                  </a:lnTo>
                  <a:lnTo>
                    <a:pt x="271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10" y="1"/>
                  </a:lnTo>
                  <a:lnTo>
                    <a:pt x="6" y="2"/>
                  </a:lnTo>
                  <a:lnTo>
                    <a:pt x="4" y="4"/>
                  </a:lnTo>
                  <a:lnTo>
                    <a:pt x="2" y="6"/>
                  </a:lnTo>
                  <a:lnTo>
                    <a:pt x="1" y="8"/>
                  </a:lnTo>
                  <a:lnTo>
                    <a:pt x="0" y="12"/>
                  </a:lnTo>
                  <a:lnTo>
                    <a:pt x="0" y="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18">
              <a:extLst>
                <a:ext uri="{FF2B5EF4-FFF2-40B4-BE49-F238E27FC236}">
                  <a16:creationId xmlns:a16="http://schemas.microsoft.com/office/drawing/2014/main" id="{FAF64FC8-E98D-4277-BB75-A2C75A2990E7}"/>
                </a:ext>
              </a:extLst>
            </p:cNvPr>
            <p:cNvSpPr>
              <a:spLocks/>
            </p:cNvSpPr>
            <p:nvPr/>
          </p:nvSpPr>
          <p:spPr bwMode="auto">
            <a:xfrm>
              <a:off x="4978400" y="2597150"/>
              <a:ext cx="114300" cy="9525"/>
            </a:xfrm>
            <a:custGeom>
              <a:avLst/>
              <a:gdLst>
                <a:gd name="T0" fmla="*/ 15 w 361"/>
                <a:gd name="T1" fmla="*/ 30 h 30"/>
                <a:gd name="T2" fmla="*/ 346 w 361"/>
                <a:gd name="T3" fmla="*/ 30 h 30"/>
                <a:gd name="T4" fmla="*/ 348 w 361"/>
                <a:gd name="T5" fmla="*/ 30 h 30"/>
                <a:gd name="T6" fmla="*/ 352 w 361"/>
                <a:gd name="T7" fmla="*/ 29 h 30"/>
                <a:gd name="T8" fmla="*/ 354 w 361"/>
                <a:gd name="T9" fmla="*/ 28 h 30"/>
                <a:gd name="T10" fmla="*/ 356 w 361"/>
                <a:gd name="T11" fmla="*/ 26 h 30"/>
                <a:gd name="T12" fmla="*/ 358 w 361"/>
                <a:gd name="T13" fmla="*/ 24 h 30"/>
                <a:gd name="T14" fmla="*/ 360 w 361"/>
                <a:gd name="T15" fmla="*/ 20 h 30"/>
                <a:gd name="T16" fmla="*/ 360 w 361"/>
                <a:gd name="T17" fmla="*/ 18 h 30"/>
                <a:gd name="T18" fmla="*/ 361 w 361"/>
                <a:gd name="T19" fmla="*/ 15 h 30"/>
                <a:gd name="T20" fmla="*/ 360 w 361"/>
                <a:gd name="T21" fmla="*/ 12 h 30"/>
                <a:gd name="T22" fmla="*/ 360 w 361"/>
                <a:gd name="T23" fmla="*/ 9 h 30"/>
                <a:gd name="T24" fmla="*/ 358 w 361"/>
                <a:gd name="T25" fmla="*/ 6 h 30"/>
                <a:gd name="T26" fmla="*/ 356 w 361"/>
                <a:gd name="T27" fmla="*/ 4 h 30"/>
                <a:gd name="T28" fmla="*/ 354 w 361"/>
                <a:gd name="T29" fmla="*/ 2 h 30"/>
                <a:gd name="T30" fmla="*/ 352 w 361"/>
                <a:gd name="T31" fmla="*/ 1 h 30"/>
                <a:gd name="T32" fmla="*/ 348 w 361"/>
                <a:gd name="T33" fmla="*/ 0 h 30"/>
                <a:gd name="T34" fmla="*/ 346 w 361"/>
                <a:gd name="T35" fmla="*/ 0 h 30"/>
                <a:gd name="T36" fmla="*/ 15 w 361"/>
                <a:gd name="T37" fmla="*/ 0 h 30"/>
                <a:gd name="T38" fmla="*/ 12 w 361"/>
                <a:gd name="T39" fmla="*/ 0 h 30"/>
                <a:gd name="T40" fmla="*/ 8 w 361"/>
                <a:gd name="T41" fmla="*/ 1 h 30"/>
                <a:gd name="T42" fmla="*/ 6 w 361"/>
                <a:gd name="T43" fmla="*/ 2 h 30"/>
                <a:gd name="T44" fmla="*/ 4 w 361"/>
                <a:gd name="T45" fmla="*/ 4 h 30"/>
                <a:gd name="T46" fmla="*/ 2 w 361"/>
                <a:gd name="T47" fmla="*/ 6 h 30"/>
                <a:gd name="T48" fmla="*/ 1 w 361"/>
                <a:gd name="T49" fmla="*/ 9 h 30"/>
                <a:gd name="T50" fmla="*/ 0 w 361"/>
                <a:gd name="T51" fmla="*/ 12 h 30"/>
                <a:gd name="T52" fmla="*/ 0 w 361"/>
                <a:gd name="T53" fmla="*/ 15 h 30"/>
                <a:gd name="T54" fmla="*/ 0 w 361"/>
                <a:gd name="T55" fmla="*/ 18 h 30"/>
                <a:gd name="T56" fmla="*/ 1 w 361"/>
                <a:gd name="T57" fmla="*/ 20 h 30"/>
                <a:gd name="T58" fmla="*/ 2 w 361"/>
                <a:gd name="T59" fmla="*/ 24 h 30"/>
                <a:gd name="T60" fmla="*/ 4 w 361"/>
                <a:gd name="T61" fmla="*/ 26 h 30"/>
                <a:gd name="T62" fmla="*/ 6 w 361"/>
                <a:gd name="T63" fmla="*/ 28 h 30"/>
                <a:gd name="T64" fmla="*/ 8 w 361"/>
                <a:gd name="T65" fmla="*/ 29 h 30"/>
                <a:gd name="T66" fmla="*/ 12 w 361"/>
                <a:gd name="T67" fmla="*/ 30 h 30"/>
                <a:gd name="T68" fmla="*/ 15 w 361"/>
                <a:gd name="T69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61" h="30">
                  <a:moveTo>
                    <a:pt x="15" y="30"/>
                  </a:moveTo>
                  <a:lnTo>
                    <a:pt x="346" y="30"/>
                  </a:lnTo>
                  <a:lnTo>
                    <a:pt x="348" y="30"/>
                  </a:lnTo>
                  <a:lnTo>
                    <a:pt x="352" y="29"/>
                  </a:lnTo>
                  <a:lnTo>
                    <a:pt x="354" y="28"/>
                  </a:lnTo>
                  <a:lnTo>
                    <a:pt x="356" y="26"/>
                  </a:lnTo>
                  <a:lnTo>
                    <a:pt x="358" y="24"/>
                  </a:lnTo>
                  <a:lnTo>
                    <a:pt x="360" y="20"/>
                  </a:lnTo>
                  <a:lnTo>
                    <a:pt x="360" y="18"/>
                  </a:lnTo>
                  <a:lnTo>
                    <a:pt x="361" y="15"/>
                  </a:lnTo>
                  <a:lnTo>
                    <a:pt x="360" y="12"/>
                  </a:lnTo>
                  <a:lnTo>
                    <a:pt x="360" y="9"/>
                  </a:lnTo>
                  <a:lnTo>
                    <a:pt x="358" y="6"/>
                  </a:lnTo>
                  <a:lnTo>
                    <a:pt x="356" y="4"/>
                  </a:lnTo>
                  <a:lnTo>
                    <a:pt x="354" y="2"/>
                  </a:lnTo>
                  <a:lnTo>
                    <a:pt x="352" y="1"/>
                  </a:lnTo>
                  <a:lnTo>
                    <a:pt x="348" y="0"/>
                  </a:lnTo>
                  <a:lnTo>
                    <a:pt x="346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8" y="1"/>
                  </a:lnTo>
                  <a:lnTo>
                    <a:pt x="6" y="2"/>
                  </a:lnTo>
                  <a:lnTo>
                    <a:pt x="4" y="4"/>
                  </a:lnTo>
                  <a:lnTo>
                    <a:pt x="2" y="6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1" y="20"/>
                  </a:lnTo>
                  <a:lnTo>
                    <a:pt x="2" y="24"/>
                  </a:lnTo>
                  <a:lnTo>
                    <a:pt x="4" y="26"/>
                  </a:lnTo>
                  <a:lnTo>
                    <a:pt x="6" y="28"/>
                  </a:lnTo>
                  <a:lnTo>
                    <a:pt x="8" y="29"/>
                  </a:lnTo>
                  <a:lnTo>
                    <a:pt x="12" y="30"/>
                  </a:lnTo>
                  <a:lnTo>
                    <a:pt x="15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19">
              <a:extLst>
                <a:ext uri="{FF2B5EF4-FFF2-40B4-BE49-F238E27FC236}">
                  <a16:creationId xmlns:a16="http://schemas.microsoft.com/office/drawing/2014/main" id="{D4FB07A6-FE67-424E-9B23-E3DE776FB98F}"/>
                </a:ext>
              </a:extLst>
            </p:cNvPr>
            <p:cNvSpPr>
              <a:spLocks/>
            </p:cNvSpPr>
            <p:nvPr/>
          </p:nvSpPr>
          <p:spPr bwMode="auto">
            <a:xfrm>
              <a:off x="4978400" y="2635250"/>
              <a:ext cx="114300" cy="9525"/>
            </a:xfrm>
            <a:custGeom>
              <a:avLst/>
              <a:gdLst>
                <a:gd name="T0" fmla="*/ 15 w 361"/>
                <a:gd name="T1" fmla="*/ 30 h 30"/>
                <a:gd name="T2" fmla="*/ 346 w 361"/>
                <a:gd name="T3" fmla="*/ 30 h 30"/>
                <a:gd name="T4" fmla="*/ 348 w 361"/>
                <a:gd name="T5" fmla="*/ 30 h 30"/>
                <a:gd name="T6" fmla="*/ 352 w 361"/>
                <a:gd name="T7" fmla="*/ 29 h 30"/>
                <a:gd name="T8" fmla="*/ 354 w 361"/>
                <a:gd name="T9" fmla="*/ 28 h 30"/>
                <a:gd name="T10" fmla="*/ 356 w 361"/>
                <a:gd name="T11" fmla="*/ 26 h 30"/>
                <a:gd name="T12" fmla="*/ 358 w 361"/>
                <a:gd name="T13" fmla="*/ 24 h 30"/>
                <a:gd name="T14" fmla="*/ 360 w 361"/>
                <a:gd name="T15" fmla="*/ 21 h 30"/>
                <a:gd name="T16" fmla="*/ 360 w 361"/>
                <a:gd name="T17" fmla="*/ 18 h 30"/>
                <a:gd name="T18" fmla="*/ 361 w 361"/>
                <a:gd name="T19" fmla="*/ 15 h 30"/>
                <a:gd name="T20" fmla="*/ 360 w 361"/>
                <a:gd name="T21" fmla="*/ 12 h 30"/>
                <a:gd name="T22" fmla="*/ 360 w 361"/>
                <a:gd name="T23" fmla="*/ 10 h 30"/>
                <a:gd name="T24" fmla="*/ 358 w 361"/>
                <a:gd name="T25" fmla="*/ 6 h 30"/>
                <a:gd name="T26" fmla="*/ 356 w 361"/>
                <a:gd name="T27" fmla="*/ 4 h 30"/>
                <a:gd name="T28" fmla="*/ 354 w 361"/>
                <a:gd name="T29" fmla="*/ 3 h 30"/>
                <a:gd name="T30" fmla="*/ 352 w 361"/>
                <a:gd name="T31" fmla="*/ 1 h 30"/>
                <a:gd name="T32" fmla="*/ 348 w 361"/>
                <a:gd name="T33" fmla="*/ 0 h 30"/>
                <a:gd name="T34" fmla="*/ 346 w 361"/>
                <a:gd name="T35" fmla="*/ 0 h 30"/>
                <a:gd name="T36" fmla="*/ 15 w 361"/>
                <a:gd name="T37" fmla="*/ 0 h 30"/>
                <a:gd name="T38" fmla="*/ 12 w 361"/>
                <a:gd name="T39" fmla="*/ 0 h 30"/>
                <a:gd name="T40" fmla="*/ 8 w 361"/>
                <a:gd name="T41" fmla="*/ 1 h 30"/>
                <a:gd name="T42" fmla="*/ 6 w 361"/>
                <a:gd name="T43" fmla="*/ 3 h 30"/>
                <a:gd name="T44" fmla="*/ 4 w 361"/>
                <a:gd name="T45" fmla="*/ 4 h 30"/>
                <a:gd name="T46" fmla="*/ 2 w 361"/>
                <a:gd name="T47" fmla="*/ 6 h 30"/>
                <a:gd name="T48" fmla="*/ 1 w 361"/>
                <a:gd name="T49" fmla="*/ 10 h 30"/>
                <a:gd name="T50" fmla="*/ 0 w 361"/>
                <a:gd name="T51" fmla="*/ 12 h 30"/>
                <a:gd name="T52" fmla="*/ 0 w 361"/>
                <a:gd name="T53" fmla="*/ 15 h 30"/>
                <a:gd name="T54" fmla="*/ 0 w 361"/>
                <a:gd name="T55" fmla="*/ 18 h 30"/>
                <a:gd name="T56" fmla="*/ 1 w 361"/>
                <a:gd name="T57" fmla="*/ 21 h 30"/>
                <a:gd name="T58" fmla="*/ 2 w 361"/>
                <a:gd name="T59" fmla="*/ 24 h 30"/>
                <a:gd name="T60" fmla="*/ 4 w 361"/>
                <a:gd name="T61" fmla="*/ 26 h 30"/>
                <a:gd name="T62" fmla="*/ 6 w 361"/>
                <a:gd name="T63" fmla="*/ 28 h 30"/>
                <a:gd name="T64" fmla="*/ 8 w 361"/>
                <a:gd name="T65" fmla="*/ 29 h 30"/>
                <a:gd name="T66" fmla="*/ 12 w 361"/>
                <a:gd name="T67" fmla="*/ 30 h 30"/>
                <a:gd name="T68" fmla="*/ 15 w 361"/>
                <a:gd name="T69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61" h="30">
                  <a:moveTo>
                    <a:pt x="15" y="30"/>
                  </a:moveTo>
                  <a:lnTo>
                    <a:pt x="346" y="30"/>
                  </a:lnTo>
                  <a:lnTo>
                    <a:pt x="348" y="30"/>
                  </a:lnTo>
                  <a:lnTo>
                    <a:pt x="352" y="29"/>
                  </a:lnTo>
                  <a:lnTo>
                    <a:pt x="354" y="28"/>
                  </a:lnTo>
                  <a:lnTo>
                    <a:pt x="356" y="26"/>
                  </a:lnTo>
                  <a:lnTo>
                    <a:pt x="358" y="24"/>
                  </a:lnTo>
                  <a:lnTo>
                    <a:pt x="360" y="21"/>
                  </a:lnTo>
                  <a:lnTo>
                    <a:pt x="360" y="18"/>
                  </a:lnTo>
                  <a:lnTo>
                    <a:pt x="361" y="15"/>
                  </a:lnTo>
                  <a:lnTo>
                    <a:pt x="360" y="12"/>
                  </a:lnTo>
                  <a:lnTo>
                    <a:pt x="360" y="10"/>
                  </a:lnTo>
                  <a:lnTo>
                    <a:pt x="358" y="6"/>
                  </a:lnTo>
                  <a:lnTo>
                    <a:pt x="356" y="4"/>
                  </a:lnTo>
                  <a:lnTo>
                    <a:pt x="354" y="3"/>
                  </a:lnTo>
                  <a:lnTo>
                    <a:pt x="352" y="1"/>
                  </a:lnTo>
                  <a:lnTo>
                    <a:pt x="348" y="0"/>
                  </a:lnTo>
                  <a:lnTo>
                    <a:pt x="346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8" y="1"/>
                  </a:lnTo>
                  <a:lnTo>
                    <a:pt x="6" y="3"/>
                  </a:lnTo>
                  <a:lnTo>
                    <a:pt x="4" y="4"/>
                  </a:lnTo>
                  <a:lnTo>
                    <a:pt x="2" y="6"/>
                  </a:lnTo>
                  <a:lnTo>
                    <a:pt x="1" y="10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1" y="21"/>
                  </a:lnTo>
                  <a:lnTo>
                    <a:pt x="2" y="24"/>
                  </a:lnTo>
                  <a:lnTo>
                    <a:pt x="4" y="26"/>
                  </a:lnTo>
                  <a:lnTo>
                    <a:pt x="6" y="28"/>
                  </a:lnTo>
                  <a:lnTo>
                    <a:pt x="8" y="29"/>
                  </a:lnTo>
                  <a:lnTo>
                    <a:pt x="12" y="30"/>
                  </a:lnTo>
                  <a:lnTo>
                    <a:pt x="15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9" name="Freeform 122">
            <a:extLst>
              <a:ext uri="{FF2B5EF4-FFF2-40B4-BE49-F238E27FC236}">
                <a16:creationId xmlns:a16="http://schemas.microsoft.com/office/drawing/2014/main" id="{9780AA1C-EFC1-4167-88D7-7A27A6BA77FD}"/>
              </a:ext>
            </a:extLst>
          </p:cNvPr>
          <p:cNvSpPr>
            <a:spLocks noEditPoints="1"/>
          </p:cNvSpPr>
          <p:nvPr/>
        </p:nvSpPr>
        <p:spPr bwMode="auto">
          <a:xfrm>
            <a:off x="2090413" y="2593420"/>
            <a:ext cx="486054" cy="445774"/>
          </a:xfrm>
          <a:custGeom>
            <a:avLst/>
            <a:gdLst>
              <a:gd name="T0" fmla="*/ 376 w 907"/>
              <a:gd name="T1" fmla="*/ 508 h 827"/>
              <a:gd name="T2" fmla="*/ 866 w 907"/>
              <a:gd name="T3" fmla="*/ 58 h 827"/>
              <a:gd name="T4" fmla="*/ 366 w 907"/>
              <a:gd name="T5" fmla="*/ 758 h 827"/>
              <a:gd name="T6" fmla="*/ 466 w 907"/>
              <a:gd name="T7" fmla="*/ 590 h 827"/>
              <a:gd name="T8" fmla="*/ 819 w 907"/>
              <a:gd name="T9" fmla="*/ 61 h 827"/>
              <a:gd name="T10" fmla="*/ 55 w 907"/>
              <a:gd name="T11" fmla="*/ 375 h 827"/>
              <a:gd name="T12" fmla="*/ 907 w 907"/>
              <a:gd name="T13" fmla="*/ 15 h 827"/>
              <a:gd name="T14" fmla="*/ 906 w 907"/>
              <a:gd name="T15" fmla="*/ 12 h 827"/>
              <a:gd name="T16" fmla="*/ 906 w 907"/>
              <a:gd name="T17" fmla="*/ 11 h 827"/>
              <a:gd name="T18" fmla="*/ 905 w 907"/>
              <a:gd name="T19" fmla="*/ 8 h 827"/>
              <a:gd name="T20" fmla="*/ 905 w 907"/>
              <a:gd name="T21" fmla="*/ 6 h 827"/>
              <a:gd name="T22" fmla="*/ 904 w 907"/>
              <a:gd name="T23" fmla="*/ 5 h 827"/>
              <a:gd name="T24" fmla="*/ 902 w 907"/>
              <a:gd name="T25" fmla="*/ 3 h 827"/>
              <a:gd name="T26" fmla="*/ 900 w 907"/>
              <a:gd name="T27" fmla="*/ 2 h 827"/>
              <a:gd name="T28" fmla="*/ 900 w 907"/>
              <a:gd name="T29" fmla="*/ 2 h 827"/>
              <a:gd name="T30" fmla="*/ 897 w 907"/>
              <a:gd name="T31" fmla="*/ 1 h 827"/>
              <a:gd name="T32" fmla="*/ 895 w 907"/>
              <a:gd name="T33" fmla="*/ 0 h 827"/>
              <a:gd name="T34" fmla="*/ 893 w 907"/>
              <a:gd name="T35" fmla="*/ 0 h 827"/>
              <a:gd name="T36" fmla="*/ 891 w 907"/>
              <a:gd name="T37" fmla="*/ 0 h 827"/>
              <a:gd name="T38" fmla="*/ 887 w 907"/>
              <a:gd name="T39" fmla="*/ 1 h 827"/>
              <a:gd name="T40" fmla="*/ 886 w 907"/>
              <a:gd name="T41" fmla="*/ 1 h 827"/>
              <a:gd name="T42" fmla="*/ 886 w 907"/>
              <a:gd name="T43" fmla="*/ 1 h 827"/>
              <a:gd name="T44" fmla="*/ 5 w 907"/>
              <a:gd name="T45" fmla="*/ 365 h 827"/>
              <a:gd name="T46" fmla="*/ 1 w 907"/>
              <a:gd name="T47" fmla="*/ 372 h 827"/>
              <a:gd name="T48" fmla="*/ 1 w 907"/>
              <a:gd name="T49" fmla="*/ 381 h 827"/>
              <a:gd name="T50" fmla="*/ 5 w 907"/>
              <a:gd name="T51" fmla="*/ 388 h 827"/>
              <a:gd name="T52" fmla="*/ 336 w 907"/>
              <a:gd name="T53" fmla="*/ 521 h 827"/>
              <a:gd name="T54" fmla="*/ 336 w 907"/>
              <a:gd name="T55" fmla="*/ 817 h 827"/>
              <a:gd name="T56" fmla="*/ 342 w 907"/>
              <a:gd name="T57" fmla="*/ 825 h 827"/>
              <a:gd name="T58" fmla="*/ 348 w 907"/>
              <a:gd name="T59" fmla="*/ 827 h 827"/>
              <a:gd name="T60" fmla="*/ 354 w 907"/>
              <a:gd name="T61" fmla="*/ 827 h 827"/>
              <a:gd name="T62" fmla="*/ 360 w 907"/>
              <a:gd name="T63" fmla="*/ 823 h 827"/>
              <a:gd name="T64" fmla="*/ 492 w 907"/>
              <a:gd name="T65" fmla="*/ 605 h 827"/>
              <a:gd name="T66" fmla="*/ 732 w 907"/>
              <a:gd name="T67" fmla="*/ 732 h 827"/>
              <a:gd name="T68" fmla="*/ 739 w 907"/>
              <a:gd name="T69" fmla="*/ 732 h 827"/>
              <a:gd name="T70" fmla="*/ 745 w 907"/>
              <a:gd name="T71" fmla="*/ 729 h 827"/>
              <a:gd name="T72" fmla="*/ 749 w 907"/>
              <a:gd name="T73" fmla="*/ 724 h 827"/>
              <a:gd name="T74" fmla="*/ 906 w 907"/>
              <a:gd name="T75" fmla="*/ 18 h 827"/>
              <a:gd name="T76" fmla="*/ 906 w 907"/>
              <a:gd name="T77" fmla="*/ 17 h 827"/>
              <a:gd name="T78" fmla="*/ 907 w 907"/>
              <a:gd name="T79" fmla="*/ 15 h 8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907" h="827">
                <a:moveTo>
                  <a:pt x="726" y="695"/>
                </a:moveTo>
                <a:lnTo>
                  <a:pt x="376" y="508"/>
                </a:lnTo>
                <a:lnTo>
                  <a:pt x="834" y="88"/>
                </a:lnTo>
                <a:lnTo>
                  <a:pt x="866" y="58"/>
                </a:lnTo>
                <a:lnTo>
                  <a:pt x="726" y="695"/>
                </a:lnTo>
                <a:close/>
                <a:moveTo>
                  <a:pt x="366" y="758"/>
                </a:moveTo>
                <a:lnTo>
                  <a:pt x="366" y="536"/>
                </a:lnTo>
                <a:lnTo>
                  <a:pt x="466" y="590"/>
                </a:lnTo>
                <a:lnTo>
                  <a:pt x="366" y="758"/>
                </a:lnTo>
                <a:close/>
                <a:moveTo>
                  <a:pt x="819" y="61"/>
                </a:moveTo>
                <a:lnTo>
                  <a:pt x="347" y="493"/>
                </a:lnTo>
                <a:lnTo>
                  <a:pt x="55" y="375"/>
                </a:lnTo>
                <a:lnTo>
                  <a:pt x="819" y="61"/>
                </a:lnTo>
                <a:close/>
                <a:moveTo>
                  <a:pt x="907" y="15"/>
                </a:moveTo>
                <a:lnTo>
                  <a:pt x="907" y="14"/>
                </a:lnTo>
                <a:lnTo>
                  <a:pt x="906" y="12"/>
                </a:lnTo>
                <a:lnTo>
                  <a:pt x="906" y="12"/>
                </a:lnTo>
                <a:lnTo>
                  <a:pt x="906" y="11"/>
                </a:lnTo>
                <a:lnTo>
                  <a:pt x="905" y="9"/>
                </a:lnTo>
                <a:lnTo>
                  <a:pt x="905" y="8"/>
                </a:lnTo>
                <a:lnTo>
                  <a:pt x="905" y="8"/>
                </a:lnTo>
                <a:lnTo>
                  <a:pt x="905" y="6"/>
                </a:lnTo>
                <a:lnTo>
                  <a:pt x="904" y="6"/>
                </a:lnTo>
                <a:lnTo>
                  <a:pt x="904" y="5"/>
                </a:lnTo>
                <a:lnTo>
                  <a:pt x="903" y="4"/>
                </a:lnTo>
                <a:lnTo>
                  <a:pt x="902" y="3"/>
                </a:lnTo>
                <a:lnTo>
                  <a:pt x="901" y="3"/>
                </a:lnTo>
                <a:lnTo>
                  <a:pt x="900" y="2"/>
                </a:lnTo>
                <a:lnTo>
                  <a:pt x="900" y="2"/>
                </a:lnTo>
                <a:lnTo>
                  <a:pt x="900" y="2"/>
                </a:lnTo>
                <a:lnTo>
                  <a:pt x="898" y="1"/>
                </a:lnTo>
                <a:lnTo>
                  <a:pt x="897" y="1"/>
                </a:lnTo>
                <a:lnTo>
                  <a:pt x="896" y="1"/>
                </a:lnTo>
                <a:lnTo>
                  <a:pt x="895" y="0"/>
                </a:lnTo>
                <a:lnTo>
                  <a:pt x="894" y="0"/>
                </a:lnTo>
                <a:lnTo>
                  <a:pt x="893" y="0"/>
                </a:lnTo>
                <a:lnTo>
                  <a:pt x="892" y="0"/>
                </a:lnTo>
                <a:lnTo>
                  <a:pt x="891" y="0"/>
                </a:lnTo>
                <a:lnTo>
                  <a:pt x="889" y="0"/>
                </a:lnTo>
                <a:lnTo>
                  <a:pt x="887" y="1"/>
                </a:lnTo>
                <a:lnTo>
                  <a:pt x="887" y="1"/>
                </a:lnTo>
                <a:lnTo>
                  <a:pt x="886" y="1"/>
                </a:lnTo>
                <a:lnTo>
                  <a:pt x="886" y="1"/>
                </a:lnTo>
                <a:lnTo>
                  <a:pt x="886" y="1"/>
                </a:lnTo>
                <a:lnTo>
                  <a:pt x="10" y="362"/>
                </a:lnTo>
                <a:lnTo>
                  <a:pt x="5" y="365"/>
                </a:lnTo>
                <a:lnTo>
                  <a:pt x="2" y="368"/>
                </a:lnTo>
                <a:lnTo>
                  <a:pt x="1" y="372"/>
                </a:lnTo>
                <a:lnTo>
                  <a:pt x="0" y="376"/>
                </a:lnTo>
                <a:lnTo>
                  <a:pt x="1" y="381"/>
                </a:lnTo>
                <a:lnTo>
                  <a:pt x="2" y="384"/>
                </a:lnTo>
                <a:lnTo>
                  <a:pt x="5" y="388"/>
                </a:lnTo>
                <a:lnTo>
                  <a:pt x="10" y="390"/>
                </a:lnTo>
                <a:lnTo>
                  <a:pt x="336" y="521"/>
                </a:lnTo>
                <a:lnTo>
                  <a:pt x="336" y="812"/>
                </a:lnTo>
                <a:lnTo>
                  <a:pt x="336" y="817"/>
                </a:lnTo>
                <a:lnTo>
                  <a:pt x="338" y="821"/>
                </a:lnTo>
                <a:lnTo>
                  <a:pt x="342" y="825"/>
                </a:lnTo>
                <a:lnTo>
                  <a:pt x="346" y="827"/>
                </a:lnTo>
                <a:lnTo>
                  <a:pt x="348" y="827"/>
                </a:lnTo>
                <a:lnTo>
                  <a:pt x="351" y="827"/>
                </a:lnTo>
                <a:lnTo>
                  <a:pt x="354" y="827"/>
                </a:lnTo>
                <a:lnTo>
                  <a:pt x="357" y="826"/>
                </a:lnTo>
                <a:lnTo>
                  <a:pt x="360" y="823"/>
                </a:lnTo>
                <a:lnTo>
                  <a:pt x="363" y="820"/>
                </a:lnTo>
                <a:lnTo>
                  <a:pt x="492" y="605"/>
                </a:lnTo>
                <a:lnTo>
                  <a:pt x="729" y="730"/>
                </a:lnTo>
                <a:lnTo>
                  <a:pt x="732" y="732"/>
                </a:lnTo>
                <a:lnTo>
                  <a:pt x="736" y="732"/>
                </a:lnTo>
                <a:lnTo>
                  <a:pt x="739" y="732"/>
                </a:lnTo>
                <a:lnTo>
                  <a:pt x="742" y="731"/>
                </a:lnTo>
                <a:lnTo>
                  <a:pt x="745" y="729"/>
                </a:lnTo>
                <a:lnTo>
                  <a:pt x="747" y="727"/>
                </a:lnTo>
                <a:lnTo>
                  <a:pt x="749" y="724"/>
                </a:lnTo>
                <a:lnTo>
                  <a:pt x="751" y="721"/>
                </a:lnTo>
                <a:lnTo>
                  <a:pt x="906" y="18"/>
                </a:lnTo>
                <a:lnTo>
                  <a:pt x="906" y="17"/>
                </a:lnTo>
                <a:lnTo>
                  <a:pt x="906" y="17"/>
                </a:lnTo>
                <a:lnTo>
                  <a:pt x="907" y="16"/>
                </a:lnTo>
                <a:lnTo>
                  <a:pt x="907" y="15"/>
                </a:lnTo>
                <a:close/>
              </a:path>
            </a:pathLst>
          </a:custGeom>
          <a:solidFill>
            <a:srgbClr val="FF6B6B"/>
          </a:solidFill>
          <a:ln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740303BE-C9B4-4619-894D-F96E42AFB1F4}"/>
              </a:ext>
            </a:extLst>
          </p:cNvPr>
          <p:cNvGrpSpPr/>
          <p:nvPr/>
        </p:nvGrpSpPr>
        <p:grpSpPr>
          <a:xfrm>
            <a:off x="9615533" y="2574622"/>
            <a:ext cx="486054" cy="483368"/>
            <a:chOff x="11028363" y="2505076"/>
            <a:chExt cx="287337" cy="285750"/>
          </a:xfrm>
          <a:solidFill>
            <a:schemeClr val="tx1">
              <a:lumMod val="75000"/>
              <a:lumOff val="25000"/>
            </a:schemeClr>
          </a:solidFill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grpSpPr>
        <p:sp>
          <p:nvSpPr>
            <p:cNvPr id="41" name="Freeform 340">
              <a:extLst>
                <a:ext uri="{FF2B5EF4-FFF2-40B4-BE49-F238E27FC236}">
                  <a16:creationId xmlns:a16="http://schemas.microsoft.com/office/drawing/2014/main" id="{03CE7C54-8619-433A-A84F-EADEEF325D0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172825" y="2649538"/>
              <a:ext cx="142875" cy="141288"/>
            </a:xfrm>
            <a:custGeom>
              <a:avLst/>
              <a:gdLst>
                <a:gd name="T0" fmla="*/ 359 w 450"/>
                <a:gd name="T1" fmla="*/ 164 h 446"/>
                <a:gd name="T2" fmla="*/ 285 w 450"/>
                <a:gd name="T3" fmla="*/ 90 h 446"/>
                <a:gd name="T4" fmla="*/ 340 w 450"/>
                <a:gd name="T5" fmla="*/ 36 h 446"/>
                <a:gd name="T6" fmla="*/ 414 w 450"/>
                <a:gd name="T7" fmla="*/ 110 h 446"/>
                <a:gd name="T8" fmla="*/ 359 w 450"/>
                <a:gd name="T9" fmla="*/ 164 h 446"/>
                <a:gd name="T10" fmla="*/ 63 w 450"/>
                <a:gd name="T11" fmla="*/ 327 h 446"/>
                <a:gd name="T12" fmla="*/ 122 w 450"/>
                <a:gd name="T13" fmla="*/ 386 h 446"/>
                <a:gd name="T14" fmla="*/ 37 w 450"/>
                <a:gd name="T15" fmla="*/ 410 h 446"/>
                <a:gd name="T16" fmla="*/ 63 w 450"/>
                <a:gd name="T17" fmla="*/ 327 h 446"/>
                <a:gd name="T18" fmla="*/ 151 w 450"/>
                <a:gd name="T19" fmla="*/ 372 h 446"/>
                <a:gd name="T20" fmla="*/ 78 w 450"/>
                <a:gd name="T21" fmla="*/ 299 h 446"/>
                <a:gd name="T22" fmla="*/ 264 w 450"/>
                <a:gd name="T23" fmla="*/ 112 h 446"/>
                <a:gd name="T24" fmla="*/ 338 w 450"/>
                <a:gd name="T25" fmla="*/ 185 h 446"/>
                <a:gd name="T26" fmla="*/ 151 w 450"/>
                <a:gd name="T27" fmla="*/ 372 h 446"/>
                <a:gd name="T28" fmla="*/ 446 w 450"/>
                <a:gd name="T29" fmla="*/ 99 h 446"/>
                <a:gd name="T30" fmla="*/ 351 w 450"/>
                <a:gd name="T31" fmla="*/ 4 h 446"/>
                <a:gd name="T32" fmla="*/ 348 w 450"/>
                <a:gd name="T33" fmla="*/ 3 h 446"/>
                <a:gd name="T34" fmla="*/ 345 w 450"/>
                <a:gd name="T35" fmla="*/ 1 h 446"/>
                <a:gd name="T36" fmla="*/ 343 w 450"/>
                <a:gd name="T37" fmla="*/ 0 h 446"/>
                <a:gd name="T38" fmla="*/ 340 w 450"/>
                <a:gd name="T39" fmla="*/ 0 h 446"/>
                <a:gd name="T40" fmla="*/ 338 w 450"/>
                <a:gd name="T41" fmla="*/ 0 h 446"/>
                <a:gd name="T42" fmla="*/ 335 w 450"/>
                <a:gd name="T43" fmla="*/ 1 h 446"/>
                <a:gd name="T44" fmla="*/ 332 w 450"/>
                <a:gd name="T45" fmla="*/ 3 h 446"/>
                <a:gd name="T46" fmla="*/ 329 w 450"/>
                <a:gd name="T47" fmla="*/ 4 h 446"/>
                <a:gd name="T48" fmla="*/ 46 w 450"/>
                <a:gd name="T49" fmla="*/ 289 h 446"/>
                <a:gd name="T50" fmla="*/ 44 w 450"/>
                <a:gd name="T51" fmla="*/ 291 h 446"/>
                <a:gd name="T52" fmla="*/ 42 w 450"/>
                <a:gd name="T53" fmla="*/ 294 h 446"/>
                <a:gd name="T54" fmla="*/ 41 w 450"/>
                <a:gd name="T55" fmla="*/ 294 h 446"/>
                <a:gd name="T56" fmla="*/ 41 w 450"/>
                <a:gd name="T57" fmla="*/ 294 h 446"/>
                <a:gd name="T58" fmla="*/ 0 w 450"/>
                <a:gd name="T59" fmla="*/ 427 h 446"/>
                <a:gd name="T60" fmla="*/ 0 w 450"/>
                <a:gd name="T61" fmla="*/ 431 h 446"/>
                <a:gd name="T62" fmla="*/ 0 w 450"/>
                <a:gd name="T63" fmla="*/ 436 h 446"/>
                <a:gd name="T64" fmla="*/ 1 w 450"/>
                <a:gd name="T65" fmla="*/ 439 h 446"/>
                <a:gd name="T66" fmla="*/ 4 w 450"/>
                <a:gd name="T67" fmla="*/ 442 h 446"/>
                <a:gd name="T68" fmla="*/ 6 w 450"/>
                <a:gd name="T69" fmla="*/ 444 h 446"/>
                <a:gd name="T70" fmla="*/ 8 w 450"/>
                <a:gd name="T71" fmla="*/ 445 h 446"/>
                <a:gd name="T72" fmla="*/ 11 w 450"/>
                <a:gd name="T73" fmla="*/ 446 h 446"/>
                <a:gd name="T74" fmla="*/ 15 w 450"/>
                <a:gd name="T75" fmla="*/ 446 h 446"/>
                <a:gd name="T76" fmla="*/ 17 w 450"/>
                <a:gd name="T77" fmla="*/ 446 h 446"/>
                <a:gd name="T78" fmla="*/ 18 w 450"/>
                <a:gd name="T79" fmla="*/ 446 h 446"/>
                <a:gd name="T80" fmla="*/ 155 w 450"/>
                <a:gd name="T81" fmla="*/ 409 h 446"/>
                <a:gd name="T82" fmla="*/ 155 w 450"/>
                <a:gd name="T83" fmla="*/ 409 h 446"/>
                <a:gd name="T84" fmla="*/ 156 w 450"/>
                <a:gd name="T85" fmla="*/ 409 h 446"/>
                <a:gd name="T86" fmla="*/ 156 w 450"/>
                <a:gd name="T87" fmla="*/ 408 h 446"/>
                <a:gd name="T88" fmla="*/ 157 w 450"/>
                <a:gd name="T89" fmla="*/ 408 h 446"/>
                <a:gd name="T90" fmla="*/ 159 w 450"/>
                <a:gd name="T91" fmla="*/ 407 h 446"/>
                <a:gd name="T92" fmla="*/ 161 w 450"/>
                <a:gd name="T93" fmla="*/ 405 h 446"/>
                <a:gd name="T94" fmla="*/ 446 w 450"/>
                <a:gd name="T95" fmla="*/ 120 h 446"/>
                <a:gd name="T96" fmla="*/ 447 w 450"/>
                <a:gd name="T97" fmla="*/ 118 h 446"/>
                <a:gd name="T98" fmla="*/ 449 w 450"/>
                <a:gd name="T99" fmla="*/ 116 h 446"/>
                <a:gd name="T100" fmla="*/ 449 w 450"/>
                <a:gd name="T101" fmla="*/ 113 h 446"/>
                <a:gd name="T102" fmla="*/ 450 w 450"/>
                <a:gd name="T103" fmla="*/ 110 h 446"/>
                <a:gd name="T104" fmla="*/ 449 w 450"/>
                <a:gd name="T105" fmla="*/ 107 h 446"/>
                <a:gd name="T106" fmla="*/ 449 w 450"/>
                <a:gd name="T107" fmla="*/ 104 h 446"/>
                <a:gd name="T108" fmla="*/ 447 w 450"/>
                <a:gd name="T109" fmla="*/ 102 h 446"/>
                <a:gd name="T110" fmla="*/ 446 w 450"/>
                <a:gd name="T111" fmla="*/ 99 h 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50" h="446">
                  <a:moveTo>
                    <a:pt x="359" y="164"/>
                  </a:moveTo>
                  <a:lnTo>
                    <a:pt x="285" y="90"/>
                  </a:lnTo>
                  <a:lnTo>
                    <a:pt x="340" y="36"/>
                  </a:lnTo>
                  <a:lnTo>
                    <a:pt x="414" y="110"/>
                  </a:lnTo>
                  <a:lnTo>
                    <a:pt x="359" y="164"/>
                  </a:lnTo>
                  <a:close/>
                  <a:moveTo>
                    <a:pt x="63" y="327"/>
                  </a:moveTo>
                  <a:lnTo>
                    <a:pt x="122" y="386"/>
                  </a:lnTo>
                  <a:lnTo>
                    <a:pt x="37" y="410"/>
                  </a:lnTo>
                  <a:lnTo>
                    <a:pt x="63" y="327"/>
                  </a:lnTo>
                  <a:close/>
                  <a:moveTo>
                    <a:pt x="151" y="372"/>
                  </a:moveTo>
                  <a:lnTo>
                    <a:pt x="78" y="299"/>
                  </a:lnTo>
                  <a:lnTo>
                    <a:pt x="264" y="112"/>
                  </a:lnTo>
                  <a:lnTo>
                    <a:pt x="338" y="185"/>
                  </a:lnTo>
                  <a:lnTo>
                    <a:pt x="151" y="372"/>
                  </a:lnTo>
                  <a:close/>
                  <a:moveTo>
                    <a:pt x="446" y="99"/>
                  </a:moveTo>
                  <a:lnTo>
                    <a:pt x="351" y="4"/>
                  </a:lnTo>
                  <a:lnTo>
                    <a:pt x="348" y="3"/>
                  </a:lnTo>
                  <a:lnTo>
                    <a:pt x="345" y="1"/>
                  </a:lnTo>
                  <a:lnTo>
                    <a:pt x="343" y="0"/>
                  </a:lnTo>
                  <a:lnTo>
                    <a:pt x="340" y="0"/>
                  </a:lnTo>
                  <a:lnTo>
                    <a:pt x="338" y="0"/>
                  </a:lnTo>
                  <a:lnTo>
                    <a:pt x="335" y="1"/>
                  </a:lnTo>
                  <a:lnTo>
                    <a:pt x="332" y="3"/>
                  </a:lnTo>
                  <a:lnTo>
                    <a:pt x="329" y="4"/>
                  </a:lnTo>
                  <a:lnTo>
                    <a:pt x="46" y="289"/>
                  </a:lnTo>
                  <a:lnTo>
                    <a:pt x="44" y="291"/>
                  </a:lnTo>
                  <a:lnTo>
                    <a:pt x="42" y="294"/>
                  </a:lnTo>
                  <a:lnTo>
                    <a:pt x="41" y="294"/>
                  </a:lnTo>
                  <a:lnTo>
                    <a:pt x="41" y="294"/>
                  </a:lnTo>
                  <a:lnTo>
                    <a:pt x="0" y="427"/>
                  </a:lnTo>
                  <a:lnTo>
                    <a:pt x="0" y="431"/>
                  </a:lnTo>
                  <a:lnTo>
                    <a:pt x="0" y="436"/>
                  </a:lnTo>
                  <a:lnTo>
                    <a:pt x="1" y="439"/>
                  </a:lnTo>
                  <a:lnTo>
                    <a:pt x="4" y="442"/>
                  </a:lnTo>
                  <a:lnTo>
                    <a:pt x="6" y="444"/>
                  </a:lnTo>
                  <a:lnTo>
                    <a:pt x="8" y="445"/>
                  </a:lnTo>
                  <a:lnTo>
                    <a:pt x="11" y="446"/>
                  </a:lnTo>
                  <a:lnTo>
                    <a:pt x="15" y="446"/>
                  </a:lnTo>
                  <a:lnTo>
                    <a:pt x="17" y="446"/>
                  </a:lnTo>
                  <a:lnTo>
                    <a:pt x="18" y="446"/>
                  </a:lnTo>
                  <a:lnTo>
                    <a:pt x="155" y="409"/>
                  </a:lnTo>
                  <a:lnTo>
                    <a:pt x="155" y="409"/>
                  </a:lnTo>
                  <a:lnTo>
                    <a:pt x="156" y="409"/>
                  </a:lnTo>
                  <a:lnTo>
                    <a:pt x="156" y="408"/>
                  </a:lnTo>
                  <a:lnTo>
                    <a:pt x="157" y="408"/>
                  </a:lnTo>
                  <a:lnTo>
                    <a:pt x="159" y="407"/>
                  </a:lnTo>
                  <a:lnTo>
                    <a:pt x="161" y="405"/>
                  </a:lnTo>
                  <a:lnTo>
                    <a:pt x="446" y="120"/>
                  </a:lnTo>
                  <a:lnTo>
                    <a:pt x="447" y="118"/>
                  </a:lnTo>
                  <a:lnTo>
                    <a:pt x="449" y="116"/>
                  </a:lnTo>
                  <a:lnTo>
                    <a:pt x="449" y="113"/>
                  </a:lnTo>
                  <a:lnTo>
                    <a:pt x="450" y="110"/>
                  </a:lnTo>
                  <a:lnTo>
                    <a:pt x="449" y="107"/>
                  </a:lnTo>
                  <a:lnTo>
                    <a:pt x="449" y="104"/>
                  </a:lnTo>
                  <a:lnTo>
                    <a:pt x="447" y="102"/>
                  </a:lnTo>
                  <a:lnTo>
                    <a:pt x="446" y="9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341">
              <a:extLst>
                <a:ext uri="{FF2B5EF4-FFF2-40B4-BE49-F238E27FC236}">
                  <a16:creationId xmlns:a16="http://schemas.microsoft.com/office/drawing/2014/main" id="{58F7DAFF-88C7-4698-A401-0E9514E8F2D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028363" y="2505076"/>
              <a:ext cx="200025" cy="257175"/>
            </a:xfrm>
            <a:custGeom>
              <a:avLst/>
              <a:gdLst>
                <a:gd name="T0" fmla="*/ 251 w 630"/>
                <a:gd name="T1" fmla="*/ 88 h 811"/>
                <a:gd name="T2" fmla="*/ 257 w 630"/>
                <a:gd name="T3" fmla="*/ 75 h 811"/>
                <a:gd name="T4" fmla="*/ 263 w 630"/>
                <a:gd name="T5" fmla="*/ 52 h 811"/>
                <a:gd name="T6" fmla="*/ 291 w 630"/>
                <a:gd name="T7" fmla="*/ 33 h 811"/>
                <a:gd name="T8" fmla="*/ 354 w 630"/>
                <a:gd name="T9" fmla="*/ 37 h 811"/>
                <a:gd name="T10" fmla="*/ 375 w 630"/>
                <a:gd name="T11" fmla="*/ 56 h 811"/>
                <a:gd name="T12" fmla="*/ 379 w 630"/>
                <a:gd name="T13" fmla="*/ 78 h 811"/>
                <a:gd name="T14" fmla="*/ 388 w 630"/>
                <a:gd name="T15" fmla="*/ 89 h 811"/>
                <a:gd name="T16" fmla="*/ 180 w 630"/>
                <a:gd name="T17" fmla="*/ 240 h 811"/>
                <a:gd name="T18" fmla="*/ 54 w 630"/>
                <a:gd name="T19" fmla="*/ 779 h 811"/>
                <a:gd name="T20" fmla="*/ 30 w 630"/>
                <a:gd name="T21" fmla="*/ 748 h 811"/>
                <a:gd name="T22" fmla="*/ 75 w 630"/>
                <a:gd name="T23" fmla="*/ 180 h 811"/>
                <a:gd name="T24" fmla="*/ 62 w 630"/>
                <a:gd name="T25" fmla="*/ 187 h 811"/>
                <a:gd name="T26" fmla="*/ 60 w 630"/>
                <a:gd name="T27" fmla="*/ 740 h 811"/>
                <a:gd name="T28" fmla="*/ 69 w 630"/>
                <a:gd name="T29" fmla="*/ 750 h 811"/>
                <a:gd name="T30" fmla="*/ 362 w 630"/>
                <a:gd name="T31" fmla="*/ 750 h 811"/>
                <a:gd name="T32" fmla="*/ 370 w 630"/>
                <a:gd name="T33" fmla="*/ 740 h 811"/>
                <a:gd name="T34" fmla="*/ 366 w 630"/>
                <a:gd name="T35" fmla="*/ 726 h 811"/>
                <a:gd name="T36" fmla="*/ 90 w 630"/>
                <a:gd name="T37" fmla="*/ 721 h 811"/>
                <a:gd name="T38" fmla="*/ 151 w 630"/>
                <a:gd name="T39" fmla="*/ 261 h 811"/>
                <a:gd name="T40" fmla="*/ 162 w 630"/>
                <a:gd name="T41" fmla="*/ 270 h 811"/>
                <a:gd name="T42" fmla="*/ 474 w 630"/>
                <a:gd name="T43" fmla="*/ 268 h 811"/>
                <a:gd name="T44" fmla="*/ 481 w 630"/>
                <a:gd name="T45" fmla="*/ 256 h 811"/>
                <a:gd name="T46" fmla="*/ 542 w 630"/>
                <a:gd name="T47" fmla="*/ 366 h 811"/>
                <a:gd name="T48" fmla="*/ 552 w 630"/>
                <a:gd name="T49" fmla="*/ 376 h 811"/>
                <a:gd name="T50" fmla="*/ 566 w 630"/>
                <a:gd name="T51" fmla="*/ 371 h 811"/>
                <a:gd name="T52" fmla="*/ 570 w 630"/>
                <a:gd name="T53" fmla="*/ 195 h 811"/>
                <a:gd name="T54" fmla="*/ 564 w 630"/>
                <a:gd name="T55" fmla="*/ 183 h 811"/>
                <a:gd name="T56" fmla="*/ 481 w 630"/>
                <a:gd name="T57" fmla="*/ 150 h 811"/>
                <a:gd name="T58" fmla="*/ 603 w 630"/>
                <a:gd name="T59" fmla="*/ 365 h 811"/>
                <a:gd name="T60" fmla="*/ 615 w 630"/>
                <a:gd name="T61" fmla="*/ 371 h 811"/>
                <a:gd name="T62" fmla="*/ 628 w 630"/>
                <a:gd name="T63" fmla="*/ 365 h 811"/>
                <a:gd name="T64" fmla="*/ 630 w 630"/>
                <a:gd name="T65" fmla="*/ 133 h 811"/>
                <a:gd name="T66" fmla="*/ 622 w 630"/>
                <a:gd name="T67" fmla="*/ 121 h 811"/>
                <a:gd name="T68" fmla="*/ 480 w 630"/>
                <a:gd name="T69" fmla="*/ 72 h 811"/>
                <a:gd name="T70" fmla="*/ 471 w 630"/>
                <a:gd name="T71" fmla="*/ 61 h 811"/>
                <a:gd name="T72" fmla="*/ 400 w 630"/>
                <a:gd name="T73" fmla="*/ 41 h 811"/>
                <a:gd name="T74" fmla="*/ 380 w 630"/>
                <a:gd name="T75" fmla="*/ 17 h 811"/>
                <a:gd name="T76" fmla="*/ 340 w 630"/>
                <a:gd name="T77" fmla="*/ 1 h 811"/>
                <a:gd name="T78" fmla="*/ 285 w 630"/>
                <a:gd name="T79" fmla="*/ 3 h 811"/>
                <a:gd name="T80" fmla="*/ 249 w 630"/>
                <a:gd name="T81" fmla="*/ 22 h 811"/>
                <a:gd name="T82" fmla="*/ 231 w 630"/>
                <a:gd name="T83" fmla="*/ 52 h 811"/>
                <a:gd name="T84" fmla="*/ 156 w 630"/>
                <a:gd name="T85" fmla="*/ 63 h 811"/>
                <a:gd name="T86" fmla="*/ 150 w 630"/>
                <a:gd name="T87" fmla="*/ 75 h 811"/>
                <a:gd name="T88" fmla="*/ 7 w 630"/>
                <a:gd name="T89" fmla="*/ 123 h 811"/>
                <a:gd name="T90" fmla="*/ 0 w 630"/>
                <a:gd name="T91" fmla="*/ 135 h 811"/>
                <a:gd name="T92" fmla="*/ 4 w 630"/>
                <a:gd name="T93" fmla="*/ 770 h 811"/>
                <a:gd name="T94" fmla="*/ 24 w 630"/>
                <a:gd name="T95" fmla="*/ 797 h 811"/>
                <a:gd name="T96" fmla="*/ 57 w 630"/>
                <a:gd name="T97" fmla="*/ 810 h 811"/>
                <a:gd name="T98" fmla="*/ 380 w 630"/>
                <a:gd name="T99" fmla="*/ 810 h 811"/>
                <a:gd name="T100" fmla="*/ 390 w 630"/>
                <a:gd name="T101" fmla="*/ 800 h 811"/>
                <a:gd name="T102" fmla="*/ 385 w 630"/>
                <a:gd name="T103" fmla="*/ 786 h 8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630" h="811">
                  <a:moveTo>
                    <a:pt x="180" y="90"/>
                  </a:moveTo>
                  <a:lnTo>
                    <a:pt x="242" y="90"/>
                  </a:lnTo>
                  <a:lnTo>
                    <a:pt x="245" y="90"/>
                  </a:lnTo>
                  <a:lnTo>
                    <a:pt x="248" y="89"/>
                  </a:lnTo>
                  <a:lnTo>
                    <a:pt x="251" y="88"/>
                  </a:lnTo>
                  <a:lnTo>
                    <a:pt x="253" y="86"/>
                  </a:lnTo>
                  <a:lnTo>
                    <a:pt x="255" y="84"/>
                  </a:lnTo>
                  <a:lnTo>
                    <a:pt x="256" y="81"/>
                  </a:lnTo>
                  <a:lnTo>
                    <a:pt x="257" y="78"/>
                  </a:lnTo>
                  <a:lnTo>
                    <a:pt x="257" y="75"/>
                  </a:lnTo>
                  <a:lnTo>
                    <a:pt x="257" y="70"/>
                  </a:lnTo>
                  <a:lnTo>
                    <a:pt x="258" y="64"/>
                  </a:lnTo>
                  <a:lnTo>
                    <a:pt x="259" y="60"/>
                  </a:lnTo>
                  <a:lnTo>
                    <a:pt x="261" y="56"/>
                  </a:lnTo>
                  <a:lnTo>
                    <a:pt x="263" y="52"/>
                  </a:lnTo>
                  <a:lnTo>
                    <a:pt x="266" y="47"/>
                  </a:lnTo>
                  <a:lnTo>
                    <a:pt x="269" y="44"/>
                  </a:lnTo>
                  <a:lnTo>
                    <a:pt x="272" y="42"/>
                  </a:lnTo>
                  <a:lnTo>
                    <a:pt x="281" y="37"/>
                  </a:lnTo>
                  <a:lnTo>
                    <a:pt x="291" y="33"/>
                  </a:lnTo>
                  <a:lnTo>
                    <a:pt x="304" y="31"/>
                  </a:lnTo>
                  <a:lnTo>
                    <a:pt x="318" y="30"/>
                  </a:lnTo>
                  <a:lnTo>
                    <a:pt x="332" y="31"/>
                  </a:lnTo>
                  <a:lnTo>
                    <a:pt x="345" y="33"/>
                  </a:lnTo>
                  <a:lnTo>
                    <a:pt x="354" y="37"/>
                  </a:lnTo>
                  <a:lnTo>
                    <a:pt x="363" y="42"/>
                  </a:lnTo>
                  <a:lnTo>
                    <a:pt x="367" y="44"/>
                  </a:lnTo>
                  <a:lnTo>
                    <a:pt x="370" y="47"/>
                  </a:lnTo>
                  <a:lnTo>
                    <a:pt x="373" y="52"/>
                  </a:lnTo>
                  <a:lnTo>
                    <a:pt x="375" y="56"/>
                  </a:lnTo>
                  <a:lnTo>
                    <a:pt x="377" y="60"/>
                  </a:lnTo>
                  <a:lnTo>
                    <a:pt x="378" y="64"/>
                  </a:lnTo>
                  <a:lnTo>
                    <a:pt x="378" y="70"/>
                  </a:lnTo>
                  <a:lnTo>
                    <a:pt x="379" y="75"/>
                  </a:lnTo>
                  <a:lnTo>
                    <a:pt x="379" y="78"/>
                  </a:lnTo>
                  <a:lnTo>
                    <a:pt x="380" y="81"/>
                  </a:lnTo>
                  <a:lnTo>
                    <a:pt x="381" y="84"/>
                  </a:lnTo>
                  <a:lnTo>
                    <a:pt x="383" y="86"/>
                  </a:lnTo>
                  <a:lnTo>
                    <a:pt x="385" y="88"/>
                  </a:lnTo>
                  <a:lnTo>
                    <a:pt x="388" y="89"/>
                  </a:lnTo>
                  <a:lnTo>
                    <a:pt x="391" y="90"/>
                  </a:lnTo>
                  <a:lnTo>
                    <a:pt x="394" y="90"/>
                  </a:lnTo>
                  <a:lnTo>
                    <a:pt x="451" y="90"/>
                  </a:lnTo>
                  <a:lnTo>
                    <a:pt x="451" y="240"/>
                  </a:lnTo>
                  <a:lnTo>
                    <a:pt x="180" y="240"/>
                  </a:lnTo>
                  <a:lnTo>
                    <a:pt x="180" y="90"/>
                  </a:lnTo>
                  <a:close/>
                  <a:moveTo>
                    <a:pt x="375" y="781"/>
                  </a:moveTo>
                  <a:lnTo>
                    <a:pt x="75" y="781"/>
                  </a:lnTo>
                  <a:lnTo>
                    <a:pt x="63" y="780"/>
                  </a:lnTo>
                  <a:lnTo>
                    <a:pt x="54" y="779"/>
                  </a:lnTo>
                  <a:lnTo>
                    <a:pt x="46" y="776"/>
                  </a:lnTo>
                  <a:lnTo>
                    <a:pt x="40" y="772"/>
                  </a:lnTo>
                  <a:lnTo>
                    <a:pt x="35" y="765"/>
                  </a:lnTo>
                  <a:lnTo>
                    <a:pt x="32" y="758"/>
                  </a:lnTo>
                  <a:lnTo>
                    <a:pt x="30" y="748"/>
                  </a:lnTo>
                  <a:lnTo>
                    <a:pt x="30" y="736"/>
                  </a:lnTo>
                  <a:lnTo>
                    <a:pt x="30" y="150"/>
                  </a:lnTo>
                  <a:lnTo>
                    <a:pt x="150" y="150"/>
                  </a:lnTo>
                  <a:lnTo>
                    <a:pt x="150" y="180"/>
                  </a:lnTo>
                  <a:lnTo>
                    <a:pt x="75" y="180"/>
                  </a:lnTo>
                  <a:lnTo>
                    <a:pt x="72" y="181"/>
                  </a:lnTo>
                  <a:lnTo>
                    <a:pt x="69" y="182"/>
                  </a:lnTo>
                  <a:lnTo>
                    <a:pt x="67" y="183"/>
                  </a:lnTo>
                  <a:lnTo>
                    <a:pt x="64" y="185"/>
                  </a:lnTo>
                  <a:lnTo>
                    <a:pt x="62" y="187"/>
                  </a:lnTo>
                  <a:lnTo>
                    <a:pt x="61" y="190"/>
                  </a:lnTo>
                  <a:lnTo>
                    <a:pt x="60" y="193"/>
                  </a:lnTo>
                  <a:lnTo>
                    <a:pt x="60" y="195"/>
                  </a:lnTo>
                  <a:lnTo>
                    <a:pt x="60" y="736"/>
                  </a:lnTo>
                  <a:lnTo>
                    <a:pt x="60" y="740"/>
                  </a:lnTo>
                  <a:lnTo>
                    <a:pt x="61" y="742"/>
                  </a:lnTo>
                  <a:lnTo>
                    <a:pt x="62" y="745"/>
                  </a:lnTo>
                  <a:lnTo>
                    <a:pt x="64" y="747"/>
                  </a:lnTo>
                  <a:lnTo>
                    <a:pt x="67" y="748"/>
                  </a:lnTo>
                  <a:lnTo>
                    <a:pt x="69" y="750"/>
                  </a:lnTo>
                  <a:lnTo>
                    <a:pt x="72" y="750"/>
                  </a:lnTo>
                  <a:lnTo>
                    <a:pt x="75" y="751"/>
                  </a:lnTo>
                  <a:lnTo>
                    <a:pt x="355" y="751"/>
                  </a:lnTo>
                  <a:lnTo>
                    <a:pt x="359" y="750"/>
                  </a:lnTo>
                  <a:lnTo>
                    <a:pt x="362" y="750"/>
                  </a:lnTo>
                  <a:lnTo>
                    <a:pt x="364" y="748"/>
                  </a:lnTo>
                  <a:lnTo>
                    <a:pt x="366" y="747"/>
                  </a:lnTo>
                  <a:lnTo>
                    <a:pt x="368" y="745"/>
                  </a:lnTo>
                  <a:lnTo>
                    <a:pt x="369" y="742"/>
                  </a:lnTo>
                  <a:lnTo>
                    <a:pt x="370" y="740"/>
                  </a:lnTo>
                  <a:lnTo>
                    <a:pt x="370" y="736"/>
                  </a:lnTo>
                  <a:lnTo>
                    <a:pt x="370" y="733"/>
                  </a:lnTo>
                  <a:lnTo>
                    <a:pt x="369" y="730"/>
                  </a:lnTo>
                  <a:lnTo>
                    <a:pt x="368" y="728"/>
                  </a:lnTo>
                  <a:lnTo>
                    <a:pt x="366" y="726"/>
                  </a:lnTo>
                  <a:lnTo>
                    <a:pt x="364" y="724"/>
                  </a:lnTo>
                  <a:lnTo>
                    <a:pt x="362" y="723"/>
                  </a:lnTo>
                  <a:lnTo>
                    <a:pt x="359" y="721"/>
                  </a:lnTo>
                  <a:lnTo>
                    <a:pt x="355" y="721"/>
                  </a:lnTo>
                  <a:lnTo>
                    <a:pt x="90" y="721"/>
                  </a:lnTo>
                  <a:lnTo>
                    <a:pt x="90" y="210"/>
                  </a:lnTo>
                  <a:lnTo>
                    <a:pt x="150" y="210"/>
                  </a:lnTo>
                  <a:lnTo>
                    <a:pt x="150" y="256"/>
                  </a:lnTo>
                  <a:lnTo>
                    <a:pt x="150" y="259"/>
                  </a:lnTo>
                  <a:lnTo>
                    <a:pt x="151" y="261"/>
                  </a:lnTo>
                  <a:lnTo>
                    <a:pt x="152" y="264"/>
                  </a:lnTo>
                  <a:lnTo>
                    <a:pt x="154" y="267"/>
                  </a:lnTo>
                  <a:lnTo>
                    <a:pt x="156" y="268"/>
                  </a:lnTo>
                  <a:lnTo>
                    <a:pt x="160" y="270"/>
                  </a:lnTo>
                  <a:lnTo>
                    <a:pt x="162" y="270"/>
                  </a:lnTo>
                  <a:lnTo>
                    <a:pt x="165" y="271"/>
                  </a:lnTo>
                  <a:lnTo>
                    <a:pt x="466" y="271"/>
                  </a:lnTo>
                  <a:lnTo>
                    <a:pt x="469" y="270"/>
                  </a:lnTo>
                  <a:lnTo>
                    <a:pt x="471" y="270"/>
                  </a:lnTo>
                  <a:lnTo>
                    <a:pt x="474" y="268"/>
                  </a:lnTo>
                  <a:lnTo>
                    <a:pt x="476" y="267"/>
                  </a:lnTo>
                  <a:lnTo>
                    <a:pt x="477" y="264"/>
                  </a:lnTo>
                  <a:lnTo>
                    <a:pt x="480" y="261"/>
                  </a:lnTo>
                  <a:lnTo>
                    <a:pt x="480" y="259"/>
                  </a:lnTo>
                  <a:lnTo>
                    <a:pt x="481" y="256"/>
                  </a:lnTo>
                  <a:lnTo>
                    <a:pt x="481" y="210"/>
                  </a:lnTo>
                  <a:lnTo>
                    <a:pt x="541" y="210"/>
                  </a:lnTo>
                  <a:lnTo>
                    <a:pt x="541" y="361"/>
                  </a:lnTo>
                  <a:lnTo>
                    <a:pt x="541" y="364"/>
                  </a:lnTo>
                  <a:lnTo>
                    <a:pt x="542" y="366"/>
                  </a:lnTo>
                  <a:lnTo>
                    <a:pt x="543" y="369"/>
                  </a:lnTo>
                  <a:lnTo>
                    <a:pt x="545" y="371"/>
                  </a:lnTo>
                  <a:lnTo>
                    <a:pt x="547" y="374"/>
                  </a:lnTo>
                  <a:lnTo>
                    <a:pt x="549" y="375"/>
                  </a:lnTo>
                  <a:lnTo>
                    <a:pt x="552" y="376"/>
                  </a:lnTo>
                  <a:lnTo>
                    <a:pt x="556" y="376"/>
                  </a:lnTo>
                  <a:lnTo>
                    <a:pt x="559" y="376"/>
                  </a:lnTo>
                  <a:lnTo>
                    <a:pt x="561" y="375"/>
                  </a:lnTo>
                  <a:lnTo>
                    <a:pt x="564" y="374"/>
                  </a:lnTo>
                  <a:lnTo>
                    <a:pt x="566" y="371"/>
                  </a:lnTo>
                  <a:lnTo>
                    <a:pt x="568" y="369"/>
                  </a:lnTo>
                  <a:lnTo>
                    <a:pt x="569" y="367"/>
                  </a:lnTo>
                  <a:lnTo>
                    <a:pt x="570" y="364"/>
                  </a:lnTo>
                  <a:lnTo>
                    <a:pt x="570" y="361"/>
                  </a:lnTo>
                  <a:lnTo>
                    <a:pt x="570" y="195"/>
                  </a:lnTo>
                  <a:lnTo>
                    <a:pt x="570" y="193"/>
                  </a:lnTo>
                  <a:lnTo>
                    <a:pt x="569" y="190"/>
                  </a:lnTo>
                  <a:lnTo>
                    <a:pt x="568" y="187"/>
                  </a:lnTo>
                  <a:lnTo>
                    <a:pt x="566" y="185"/>
                  </a:lnTo>
                  <a:lnTo>
                    <a:pt x="564" y="183"/>
                  </a:lnTo>
                  <a:lnTo>
                    <a:pt x="561" y="182"/>
                  </a:lnTo>
                  <a:lnTo>
                    <a:pt x="559" y="181"/>
                  </a:lnTo>
                  <a:lnTo>
                    <a:pt x="556" y="180"/>
                  </a:lnTo>
                  <a:lnTo>
                    <a:pt x="481" y="180"/>
                  </a:lnTo>
                  <a:lnTo>
                    <a:pt x="481" y="150"/>
                  </a:lnTo>
                  <a:lnTo>
                    <a:pt x="600" y="150"/>
                  </a:lnTo>
                  <a:lnTo>
                    <a:pt x="600" y="357"/>
                  </a:lnTo>
                  <a:lnTo>
                    <a:pt x="600" y="360"/>
                  </a:lnTo>
                  <a:lnTo>
                    <a:pt x="602" y="362"/>
                  </a:lnTo>
                  <a:lnTo>
                    <a:pt x="603" y="365"/>
                  </a:lnTo>
                  <a:lnTo>
                    <a:pt x="605" y="367"/>
                  </a:lnTo>
                  <a:lnTo>
                    <a:pt x="607" y="368"/>
                  </a:lnTo>
                  <a:lnTo>
                    <a:pt x="610" y="370"/>
                  </a:lnTo>
                  <a:lnTo>
                    <a:pt x="612" y="370"/>
                  </a:lnTo>
                  <a:lnTo>
                    <a:pt x="615" y="371"/>
                  </a:lnTo>
                  <a:lnTo>
                    <a:pt x="619" y="370"/>
                  </a:lnTo>
                  <a:lnTo>
                    <a:pt x="622" y="370"/>
                  </a:lnTo>
                  <a:lnTo>
                    <a:pt x="624" y="368"/>
                  </a:lnTo>
                  <a:lnTo>
                    <a:pt x="626" y="367"/>
                  </a:lnTo>
                  <a:lnTo>
                    <a:pt x="628" y="365"/>
                  </a:lnTo>
                  <a:lnTo>
                    <a:pt x="629" y="362"/>
                  </a:lnTo>
                  <a:lnTo>
                    <a:pt x="630" y="360"/>
                  </a:lnTo>
                  <a:lnTo>
                    <a:pt x="630" y="357"/>
                  </a:lnTo>
                  <a:lnTo>
                    <a:pt x="630" y="135"/>
                  </a:lnTo>
                  <a:lnTo>
                    <a:pt x="630" y="133"/>
                  </a:lnTo>
                  <a:lnTo>
                    <a:pt x="629" y="130"/>
                  </a:lnTo>
                  <a:lnTo>
                    <a:pt x="628" y="127"/>
                  </a:lnTo>
                  <a:lnTo>
                    <a:pt x="626" y="125"/>
                  </a:lnTo>
                  <a:lnTo>
                    <a:pt x="624" y="123"/>
                  </a:lnTo>
                  <a:lnTo>
                    <a:pt x="622" y="121"/>
                  </a:lnTo>
                  <a:lnTo>
                    <a:pt x="619" y="121"/>
                  </a:lnTo>
                  <a:lnTo>
                    <a:pt x="615" y="120"/>
                  </a:lnTo>
                  <a:lnTo>
                    <a:pt x="481" y="120"/>
                  </a:lnTo>
                  <a:lnTo>
                    <a:pt x="481" y="75"/>
                  </a:lnTo>
                  <a:lnTo>
                    <a:pt x="480" y="72"/>
                  </a:lnTo>
                  <a:lnTo>
                    <a:pt x="480" y="70"/>
                  </a:lnTo>
                  <a:lnTo>
                    <a:pt x="477" y="68"/>
                  </a:lnTo>
                  <a:lnTo>
                    <a:pt x="476" y="64"/>
                  </a:lnTo>
                  <a:lnTo>
                    <a:pt x="474" y="63"/>
                  </a:lnTo>
                  <a:lnTo>
                    <a:pt x="471" y="61"/>
                  </a:lnTo>
                  <a:lnTo>
                    <a:pt x="469" y="60"/>
                  </a:lnTo>
                  <a:lnTo>
                    <a:pt x="466" y="60"/>
                  </a:lnTo>
                  <a:lnTo>
                    <a:pt x="407" y="60"/>
                  </a:lnTo>
                  <a:lnTo>
                    <a:pt x="405" y="52"/>
                  </a:lnTo>
                  <a:lnTo>
                    <a:pt x="400" y="41"/>
                  </a:lnTo>
                  <a:lnTo>
                    <a:pt x="398" y="37"/>
                  </a:lnTo>
                  <a:lnTo>
                    <a:pt x="395" y="31"/>
                  </a:lnTo>
                  <a:lnTo>
                    <a:pt x="391" y="26"/>
                  </a:lnTo>
                  <a:lnTo>
                    <a:pt x="385" y="22"/>
                  </a:lnTo>
                  <a:lnTo>
                    <a:pt x="380" y="17"/>
                  </a:lnTo>
                  <a:lnTo>
                    <a:pt x="375" y="13"/>
                  </a:lnTo>
                  <a:lnTo>
                    <a:pt x="367" y="10"/>
                  </a:lnTo>
                  <a:lnTo>
                    <a:pt x="360" y="7"/>
                  </a:lnTo>
                  <a:lnTo>
                    <a:pt x="350" y="3"/>
                  </a:lnTo>
                  <a:lnTo>
                    <a:pt x="340" y="1"/>
                  </a:lnTo>
                  <a:lnTo>
                    <a:pt x="330" y="0"/>
                  </a:lnTo>
                  <a:lnTo>
                    <a:pt x="318" y="0"/>
                  </a:lnTo>
                  <a:lnTo>
                    <a:pt x="306" y="0"/>
                  </a:lnTo>
                  <a:lnTo>
                    <a:pt x="294" y="1"/>
                  </a:lnTo>
                  <a:lnTo>
                    <a:pt x="285" y="3"/>
                  </a:lnTo>
                  <a:lnTo>
                    <a:pt x="276" y="7"/>
                  </a:lnTo>
                  <a:lnTo>
                    <a:pt x="269" y="10"/>
                  </a:lnTo>
                  <a:lnTo>
                    <a:pt x="261" y="13"/>
                  </a:lnTo>
                  <a:lnTo>
                    <a:pt x="255" y="17"/>
                  </a:lnTo>
                  <a:lnTo>
                    <a:pt x="249" y="22"/>
                  </a:lnTo>
                  <a:lnTo>
                    <a:pt x="245" y="26"/>
                  </a:lnTo>
                  <a:lnTo>
                    <a:pt x="241" y="31"/>
                  </a:lnTo>
                  <a:lnTo>
                    <a:pt x="238" y="37"/>
                  </a:lnTo>
                  <a:lnTo>
                    <a:pt x="235" y="41"/>
                  </a:lnTo>
                  <a:lnTo>
                    <a:pt x="231" y="52"/>
                  </a:lnTo>
                  <a:lnTo>
                    <a:pt x="228" y="60"/>
                  </a:lnTo>
                  <a:lnTo>
                    <a:pt x="165" y="60"/>
                  </a:lnTo>
                  <a:lnTo>
                    <a:pt x="162" y="60"/>
                  </a:lnTo>
                  <a:lnTo>
                    <a:pt x="160" y="61"/>
                  </a:lnTo>
                  <a:lnTo>
                    <a:pt x="156" y="63"/>
                  </a:lnTo>
                  <a:lnTo>
                    <a:pt x="154" y="64"/>
                  </a:lnTo>
                  <a:lnTo>
                    <a:pt x="152" y="68"/>
                  </a:lnTo>
                  <a:lnTo>
                    <a:pt x="151" y="70"/>
                  </a:lnTo>
                  <a:lnTo>
                    <a:pt x="150" y="72"/>
                  </a:lnTo>
                  <a:lnTo>
                    <a:pt x="150" y="75"/>
                  </a:lnTo>
                  <a:lnTo>
                    <a:pt x="150" y="120"/>
                  </a:lnTo>
                  <a:lnTo>
                    <a:pt x="15" y="120"/>
                  </a:lnTo>
                  <a:lnTo>
                    <a:pt x="12" y="121"/>
                  </a:lnTo>
                  <a:lnTo>
                    <a:pt x="9" y="121"/>
                  </a:lnTo>
                  <a:lnTo>
                    <a:pt x="7" y="123"/>
                  </a:lnTo>
                  <a:lnTo>
                    <a:pt x="4" y="125"/>
                  </a:lnTo>
                  <a:lnTo>
                    <a:pt x="2" y="127"/>
                  </a:lnTo>
                  <a:lnTo>
                    <a:pt x="1" y="130"/>
                  </a:lnTo>
                  <a:lnTo>
                    <a:pt x="0" y="133"/>
                  </a:lnTo>
                  <a:lnTo>
                    <a:pt x="0" y="135"/>
                  </a:lnTo>
                  <a:lnTo>
                    <a:pt x="0" y="736"/>
                  </a:lnTo>
                  <a:lnTo>
                    <a:pt x="0" y="745"/>
                  </a:lnTo>
                  <a:lnTo>
                    <a:pt x="1" y="754"/>
                  </a:lnTo>
                  <a:lnTo>
                    <a:pt x="2" y="762"/>
                  </a:lnTo>
                  <a:lnTo>
                    <a:pt x="4" y="770"/>
                  </a:lnTo>
                  <a:lnTo>
                    <a:pt x="8" y="776"/>
                  </a:lnTo>
                  <a:lnTo>
                    <a:pt x="11" y="782"/>
                  </a:lnTo>
                  <a:lnTo>
                    <a:pt x="14" y="788"/>
                  </a:lnTo>
                  <a:lnTo>
                    <a:pt x="18" y="793"/>
                  </a:lnTo>
                  <a:lnTo>
                    <a:pt x="24" y="797"/>
                  </a:lnTo>
                  <a:lnTo>
                    <a:pt x="29" y="801"/>
                  </a:lnTo>
                  <a:lnTo>
                    <a:pt x="35" y="804"/>
                  </a:lnTo>
                  <a:lnTo>
                    <a:pt x="42" y="807"/>
                  </a:lnTo>
                  <a:lnTo>
                    <a:pt x="49" y="808"/>
                  </a:lnTo>
                  <a:lnTo>
                    <a:pt x="57" y="810"/>
                  </a:lnTo>
                  <a:lnTo>
                    <a:pt x="65" y="811"/>
                  </a:lnTo>
                  <a:lnTo>
                    <a:pt x="75" y="811"/>
                  </a:lnTo>
                  <a:lnTo>
                    <a:pt x="375" y="811"/>
                  </a:lnTo>
                  <a:lnTo>
                    <a:pt x="378" y="811"/>
                  </a:lnTo>
                  <a:lnTo>
                    <a:pt x="380" y="810"/>
                  </a:lnTo>
                  <a:lnTo>
                    <a:pt x="383" y="809"/>
                  </a:lnTo>
                  <a:lnTo>
                    <a:pt x="385" y="807"/>
                  </a:lnTo>
                  <a:lnTo>
                    <a:pt x="388" y="805"/>
                  </a:lnTo>
                  <a:lnTo>
                    <a:pt x="389" y="803"/>
                  </a:lnTo>
                  <a:lnTo>
                    <a:pt x="390" y="800"/>
                  </a:lnTo>
                  <a:lnTo>
                    <a:pt x="390" y="796"/>
                  </a:lnTo>
                  <a:lnTo>
                    <a:pt x="390" y="793"/>
                  </a:lnTo>
                  <a:lnTo>
                    <a:pt x="389" y="791"/>
                  </a:lnTo>
                  <a:lnTo>
                    <a:pt x="388" y="788"/>
                  </a:lnTo>
                  <a:lnTo>
                    <a:pt x="385" y="786"/>
                  </a:lnTo>
                  <a:lnTo>
                    <a:pt x="383" y="784"/>
                  </a:lnTo>
                  <a:lnTo>
                    <a:pt x="380" y="782"/>
                  </a:lnTo>
                  <a:lnTo>
                    <a:pt x="378" y="781"/>
                  </a:lnTo>
                  <a:lnTo>
                    <a:pt x="375" y="78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342">
              <a:extLst>
                <a:ext uri="{FF2B5EF4-FFF2-40B4-BE49-F238E27FC236}">
                  <a16:creationId xmlns:a16="http://schemas.microsoft.com/office/drawing/2014/main" id="{65BD3E3F-9B87-4FBD-A1E4-C05568FA87C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88688" y="2609851"/>
              <a:ext cx="69850" cy="9525"/>
            </a:xfrm>
            <a:custGeom>
              <a:avLst/>
              <a:gdLst>
                <a:gd name="T0" fmla="*/ 204 w 219"/>
                <a:gd name="T1" fmla="*/ 0 h 30"/>
                <a:gd name="T2" fmla="*/ 15 w 219"/>
                <a:gd name="T3" fmla="*/ 0 h 30"/>
                <a:gd name="T4" fmla="*/ 11 w 219"/>
                <a:gd name="T5" fmla="*/ 0 h 30"/>
                <a:gd name="T6" fmla="*/ 8 w 219"/>
                <a:gd name="T7" fmla="*/ 1 h 30"/>
                <a:gd name="T8" fmla="*/ 6 w 219"/>
                <a:gd name="T9" fmla="*/ 2 h 30"/>
                <a:gd name="T10" fmla="*/ 4 w 219"/>
                <a:gd name="T11" fmla="*/ 4 h 30"/>
                <a:gd name="T12" fmla="*/ 2 w 219"/>
                <a:gd name="T13" fmla="*/ 6 h 30"/>
                <a:gd name="T14" fmla="*/ 1 w 219"/>
                <a:gd name="T15" fmla="*/ 9 h 30"/>
                <a:gd name="T16" fmla="*/ 0 w 219"/>
                <a:gd name="T17" fmla="*/ 12 h 30"/>
                <a:gd name="T18" fmla="*/ 0 w 219"/>
                <a:gd name="T19" fmla="*/ 15 h 30"/>
                <a:gd name="T20" fmla="*/ 0 w 219"/>
                <a:gd name="T21" fmla="*/ 18 h 30"/>
                <a:gd name="T22" fmla="*/ 1 w 219"/>
                <a:gd name="T23" fmla="*/ 20 h 30"/>
                <a:gd name="T24" fmla="*/ 2 w 219"/>
                <a:gd name="T25" fmla="*/ 23 h 30"/>
                <a:gd name="T26" fmla="*/ 4 w 219"/>
                <a:gd name="T27" fmla="*/ 26 h 30"/>
                <a:gd name="T28" fmla="*/ 6 w 219"/>
                <a:gd name="T29" fmla="*/ 28 h 30"/>
                <a:gd name="T30" fmla="*/ 8 w 219"/>
                <a:gd name="T31" fmla="*/ 29 h 30"/>
                <a:gd name="T32" fmla="*/ 11 w 219"/>
                <a:gd name="T33" fmla="*/ 30 h 30"/>
                <a:gd name="T34" fmla="*/ 15 w 219"/>
                <a:gd name="T35" fmla="*/ 30 h 30"/>
                <a:gd name="T36" fmla="*/ 204 w 219"/>
                <a:gd name="T37" fmla="*/ 30 h 30"/>
                <a:gd name="T38" fmla="*/ 206 w 219"/>
                <a:gd name="T39" fmla="*/ 29 h 30"/>
                <a:gd name="T40" fmla="*/ 209 w 219"/>
                <a:gd name="T41" fmla="*/ 29 h 30"/>
                <a:gd name="T42" fmla="*/ 211 w 219"/>
                <a:gd name="T43" fmla="*/ 28 h 30"/>
                <a:gd name="T44" fmla="*/ 215 w 219"/>
                <a:gd name="T45" fmla="*/ 26 h 30"/>
                <a:gd name="T46" fmla="*/ 216 w 219"/>
                <a:gd name="T47" fmla="*/ 23 h 30"/>
                <a:gd name="T48" fmla="*/ 218 w 219"/>
                <a:gd name="T49" fmla="*/ 20 h 30"/>
                <a:gd name="T50" fmla="*/ 218 w 219"/>
                <a:gd name="T51" fmla="*/ 18 h 30"/>
                <a:gd name="T52" fmla="*/ 219 w 219"/>
                <a:gd name="T53" fmla="*/ 15 h 30"/>
                <a:gd name="T54" fmla="*/ 218 w 219"/>
                <a:gd name="T55" fmla="*/ 12 h 30"/>
                <a:gd name="T56" fmla="*/ 218 w 219"/>
                <a:gd name="T57" fmla="*/ 9 h 30"/>
                <a:gd name="T58" fmla="*/ 216 w 219"/>
                <a:gd name="T59" fmla="*/ 6 h 30"/>
                <a:gd name="T60" fmla="*/ 215 w 219"/>
                <a:gd name="T61" fmla="*/ 4 h 30"/>
                <a:gd name="T62" fmla="*/ 211 w 219"/>
                <a:gd name="T63" fmla="*/ 2 h 30"/>
                <a:gd name="T64" fmla="*/ 209 w 219"/>
                <a:gd name="T65" fmla="*/ 1 h 30"/>
                <a:gd name="T66" fmla="*/ 206 w 219"/>
                <a:gd name="T67" fmla="*/ 0 h 30"/>
                <a:gd name="T68" fmla="*/ 204 w 219"/>
                <a:gd name="T6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19" h="30">
                  <a:moveTo>
                    <a:pt x="204" y="0"/>
                  </a:moveTo>
                  <a:lnTo>
                    <a:pt x="15" y="0"/>
                  </a:lnTo>
                  <a:lnTo>
                    <a:pt x="11" y="0"/>
                  </a:lnTo>
                  <a:lnTo>
                    <a:pt x="8" y="1"/>
                  </a:lnTo>
                  <a:lnTo>
                    <a:pt x="6" y="2"/>
                  </a:lnTo>
                  <a:lnTo>
                    <a:pt x="4" y="4"/>
                  </a:lnTo>
                  <a:lnTo>
                    <a:pt x="2" y="6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1" y="20"/>
                  </a:lnTo>
                  <a:lnTo>
                    <a:pt x="2" y="23"/>
                  </a:lnTo>
                  <a:lnTo>
                    <a:pt x="4" y="26"/>
                  </a:lnTo>
                  <a:lnTo>
                    <a:pt x="6" y="28"/>
                  </a:lnTo>
                  <a:lnTo>
                    <a:pt x="8" y="29"/>
                  </a:lnTo>
                  <a:lnTo>
                    <a:pt x="11" y="30"/>
                  </a:lnTo>
                  <a:lnTo>
                    <a:pt x="15" y="30"/>
                  </a:lnTo>
                  <a:lnTo>
                    <a:pt x="204" y="30"/>
                  </a:lnTo>
                  <a:lnTo>
                    <a:pt x="206" y="29"/>
                  </a:lnTo>
                  <a:lnTo>
                    <a:pt x="209" y="29"/>
                  </a:lnTo>
                  <a:lnTo>
                    <a:pt x="211" y="28"/>
                  </a:lnTo>
                  <a:lnTo>
                    <a:pt x="215" y="26"/>
                  </a:lnTo>
                  <a:lnTo>
                    <a:pt x="216" y="23"/>
                  </a:lnTo>
                  <a:lnTo>
                    <a:pt x="218" y="20"/>
                  </a:lnTo>
                  <a:lnTo>
                    <a:pt x="218" y="18"/>
                  </a:lnTo>
                  <a:lnTo>
                    <a:pt x="219" y="15"/>
                  </a:lnTo>
                  <a:lnTo>
                    <a:pt x="218" y="12"/>
                  </a:lnTo>
                  <a:lnTo>
                    <a:pt x="218" y="9"/>
                  </a:lnTo>
                  <a:lnTo>
                    <a:pt x="216" y="6"/>
                  </a:lnTo>
                  <a:lnTo>
                    <a:pt x="215" y="4"/>
                  </a:lnTo>
                  <a:lnTo>
                    <a:pt x="211" y="2"/>
                  </a:lnTo>
                  <a:lnTo>
                    <a:pt x="209" y="1"/>
                  </a:lnTo>
                  <a:lnTo>
                    <a:pt x="206" y="0"/>
                  </a:lnTo>
                  <a:lnTo>
                    <a:pt x="20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343">
              <a:extLst>
                <a:ext uri="{FF2B5EF4-FFF2-40B4-BE49-F238E27FC236}">
                  <a16:creationId xmlns:a16="http://schemas.microsoft.com/office/drawing/2014/main" id="{98662D7A-91D4-4128-84AF-5EA568FF15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88688" y="2638426"/>
              <a:ext cx="69850" cy="9525"/>
            </a:xfrm>
            <a:custGeom>
              <a:avLst/>
              <a:gdLst>
                <a:gd name="T0" fmla="*/ 204 w 219"/>
                <a:gd name="T1" fmla="*/ 0 h 30"/>
                <a:gd name="T2" fmla="*/ 15 w 219"/>
                <a:gd name="T3" fmla="*/ 0 h 30"/>
                <a:gd name="T4" fmla="*/ 11 w 219"/>
                <a:gd name="T5" fmla="*/ 0 h 30"/>
                <a:gd name="T6" fmla="*/ 8 w 219"/>
                <a:gd name="T7" fmla="*/ 1 h 30"/>
                <a:gd name="T8" fmla="*/ 6 w 219"/>
                <a:gd name="T9" fmla="*/ 2 h 30"/>
                <a:gd name="T10" fmla="*/ 4 w 219"/>
                <a:gd name="T11" fmla="*/ 4 h 30"/>
                <a:gd name="T12" fmla="*/ 2 w 219"/>
                <a:gd name="T13" fmla="*/ 6 h 30"/>
                <a:gd name="T14" fmla="*/ 1 w 219"/>
                <a:gd name="T15" fmla="*/ 9 h 30"/>
                <a:gd name="T16" fmla="*/ 0 w 219"/>
                <a:gd name="T17" fmla="*/ 11 h 30"/>
                <a:gd name="T18" fmla="*/ 0 w 219"/>
                <a:gd name="T19" fmla="*/ 15 h 30"/>
                <a:gd name="T20" fmla="*/ 0 w 219"/>
                <a:gd name="T21" fmla="*/ 18 h 30"/>
                <a:gd name="T22" fmla="*/ 1 w 219"/>
                <a:gd name="T23" fmla="*/ 21 h 30"/>
                <a:gd name="T24" fmla="*/ 2 w 219"/>
                <a:gd name="T25" fmla="*/ 23 h 30"/>
                <a:gd name="T26" fmla="*/ 4 w 219"/>
                <a:gd name="T27" fmla="*/ 25 h 30"/>
                <a:gd name="T28" fmla="*/ 6 w 219"/>
                <a:gd name="T29" fmla="*/ 28 h 30"/>
                <a:gd name="T30" fmla="*/ 8 w 219"/>
                <a:gd name="T31" fmla="*/ 29 h 30"/>
                <a:gd name="T32" fmla="*/ 11 w 219"/>
                <a:gd name="T33" fmla="*/ 30 h 30"/>
                <a:gd name="T34" fmla="*/ 15 w 219"/>
                <a:gd name="T35" fmla="*/ 30 h 30"/>
                <a:gd name="T36" fmla="*/ 204 w 219"/>
                <a:gd name="T37" fmla="*/ 30 h 30"/>
                <a:gd name="T38" fmla="*/ 206 w 219"/>
                <a:gd name="T39" fmla="*/ 30 h 30"/>
                <a:gd name="T40" fmla="*/ 209 w 219"/>
                <a:gd name="T41" fmla="*/ 29 h 30"/>
                <a:gd name="T42" fmla="*/ 211 w 219"/>
                <a:gd name="T43" fmla="*/ 28 h 30"/>
                <a:gd name="T44" fmla="*/ 215 w 219"/>
                <a:gd name="T45" fmla="*/ 25 h 30"/>
                <a:gd name="T46" fmla="*/ 216 w 219"/>
                <a:gd name="T47" fmla="*/ 23 h 30"/>
                <a:gd name="T48" fmla="*/ 218 w 219"/>
                <a:gd name="T49" fmla="*/ 21 h 30"/>
                <a:gd name="T50" fmla="*/ 218 w 219"/>
                <a:gd name="T51" fmla="*/ 18 h 30"/>
                <a:gd name="T52" fmla="*/ 219 w 219"/>
                <a:gd name="T53" fmla="*/ 15 h 30"/>
                <a:gd name="T54" fmla="*/ 218 w 219"/>
                <a:gd name="T55" fmla="*/ 11 h 30"/>
                <a:gd name="T56" fmla="*/ 218 w 219"/>
                <a:gd name="T57" fmla="*/ 9 h 30"/>
                <a:gd name="T58" fmla="*/ 216 w 219"/>
                <a:gd name="T59" fmla="*/ 6 h 30"/>
                <a:gd name="T60" fmla="*/ 215 w 219"/>
                <a:gd name="T61" fmla="*/ 4 h 30"/>
                <a:gd name="T62" fmla="*/ 211 w 219"/>
                <a:gd name="T63" fmla="*/ 2 h 30"/>
                <a:gd name="T64" fmla="*/ 209 w 219"/>
                <a:gd name="T65" fmla="*/ 1 h 30"/>
                <a:gd name="T66" fmla="*/ 206 w 219"/>
                <a:gd name="T67" fmla="*/ 0 h 30"/>
                <a:gd name="T68" fmla="*/ 204 w 219"/>
                <a:gd name="T6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19" h="30">
                  <a:moveTo>
                    <a:pt x="204" y="0"/>
                  </a:moveTo>
                  <a:lnTo>
                    <a:pt x="15" y="0"/>
                  </a:lnTo>
                  <a:lnTo>
                    <a:pt x="11" y="0"/>
                  </a:lnTo>
                  <a:lnTo>
                    <a:pt x="8" y="1"/>
                  </a:lnTo>
                  <a:lnTo>
                    <a:pt x="6" y="2"/>
                  </a:lnTo>
                  <a:lnTo>
                    <a:pt x="4" y="4"/>
                  </a:lnTo>
                  <a:lnTo>
                    <a:pt x="2" y="6"/>
                  </a:lnTo>
                  <a:lnTo>
                    <a:pt x="1" y="9"/>
                  </a:lnTo>
                  <a:lnTo>
                    <a:pt x="0" y="11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1" y="21"/>
                  </a:lnTo>
                  <a:lnTo>
                    <a:pt x="2" y="23"/>
                  </a:lnTo>
                  <a:lnTo>
                    <a:pt x="4" y="25"/>
                  </a:lnTo>
                  <a:lnTo>
                    <a:pt x="6" y="28"/>
                  </a:lnTo>
                  <a:lnTo>
                    <a:pt x="8" y="29"/>
                  </a:lnTo>
                  <a:lnTo>
                    <a:pt x="11" y="30"/>
                  </a:lnTo>
                  <a:lnTo>
                    <a:pt x="15" y="30"/>
                  </a:lnTo>
                  <a:lnTo>
                    <a:pt x="204" y="30"/>
                  </a:lnTo>
                  <a:lnTo>
                    <a:pt x="206" y="30"/>
                  </a:lnTo>
                  <a:lnTo>
                    <a:pt x="209" y="29"/>
                  </a:lnTo>
                  <a:lnTo>
                    <a:pt x="211" y="28"/>
                  </a:lnTo>
                  <a:lnTo>
                    <a:pt x="215" y="25"/>
                  </a:lnTo>
                  <a:lnTo>
                    <a:pt x="216" y="23"/>
                  </a:lnTo>
                  <a:lnTo>
                    <a:pt x="218" y="21"/>
                  </a:lnTo>
                  <a:lnTo>
                    <a:pt x="218" y="18"/>
                  </a:lnTo>
                  <a:lnTo>
                    <a:pt x="219" y="15"/>
                  </a:lnTo>
                  <a:lnTo>
                    <a:pt x="218" y="11"/>
                  </a:lnTo>
                  <a:lnTo>
                    <a:pt x="218" y="9"/>
                  </a:lnTo>
                  <a:lnTo>
                    <a:pt x="216" y="6"/>
                  </a:lnTo>
                  <a:lnTo>
                    <a:pt x="215" y="4"/>
                  </a:lnTo>
                  <a:lnTo>
                    <a:pt x="211" y="2"/>
                  </a:lnTo>
                  <a:lnTo>
                    <a:pt x="209" y="1"/>
                  </a:lnTo>
                  <a:lnTo>
                    <a:pt x="206" y="0"/>
                  </a:lnTo>
                  <a:lnTo>
                    <a:pt x="20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344">
              <a:extLst>
                <a:ext uri="{FF2B5EF4-FFF2-40B4-BE49-F238E27FC236}">
                  <a16:creationId xmlns:a16="http://schemas.microsoft.com/office/drawing/2014/main" id="{47BFE926-06B5-4705-A003-C861764C3EC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88688" y="2667001"/>
              <a:ext cx="69850" cy="9525"/>
            </a:xfrm>
            <a:custGeom>
              <a:avLst/>
              <a:gdLst>
                <a:gd name="T0" fmla="*/ 204 w 219"/>
                <a:gd name="T1" fmla="*/ 0 h 30"/>
                <a:gd name="T2" fmla="*/ 15 w 219"/>
                <a:gd name="T3" fmla="*/ 0 h 30"/>
                <a:gd name="T4" fmla="*/ 11 w 219"/>
                <a:gd name="T5" fmla="*/ 0 h 30"/>
                <a:gd name="T6" fmla="*/ 8 w 219"/>
                <a:gd name="T7" fmla="*/ 1 h 30"/>
                <a:gd name="T8" fmla="*/ 6 w 219"/>
                <a:gd name="T9" fmla="*/ 3 h 30"/>
                <a:gd name="T10" fmla="*/ 4 w 219"/>
                <a:gd name="T11" fmla="*/ 4 h 30"/>
                <a:gd name="T12" fmla="*/ 2 w 219"/>
                <a:gd name="T13" fmla="*/ 7 h 30"/>
                <a:gd name="T14" fmla="*/ 1 w 219"/>
                <a:gd name="T15" fmla="*/ 9 h 30"/>
                <a:gd name="T16" fmla="*/ 0 w 219"/>
                <a:gd name="T17" fmla="*/ 12 h 30"/>
                <a:gd name="T18" fmla="*/ 0 w 219"/>
                <a:gd name="T19" fmla="*/ 15 h 30"/>
                <a:gd name="T20" fmla="*/ 0 w 219"/>
                <a:gd name="T21" fmla="*/ 18 h 30"/>
                <a:gd name="T22" fmla="*/ 1 w 219"/>
                <a:gd name="T23" fmla="*/ 21 h 30"/>
                <a:gd name="T24" fmla="*/ 2 w 219"/>
                <a:gd name="T25" fmla="*/ 23 h 30"/>
                <a:gd name="T26" fmla="*/ 4 w 219"/>
                <a:gd name="T27" fmla="*/ 25 h 30"/>
                <a:gd name="T28" fmla="*/ 6 w 219"/>
                <a:gd name="T29" fmla="*/ 27 h 30"/>
                <a:gd name="T30" fmla="*/ 8 w 219"/>
                <a:gd name="T31" fmla="*/ 29 h 30"/>
                <a:gd name="T32" fmla="*/ 11 w 219"/>
                <a:gd name="T33" fmla="*/ 30 h 30"/>
                <a:gd name="T34" fmla="*/ 15 w 219"/>
                <a:gd name="T35" fmla="*/ 30 h 30"/>
                <a:gd name="T36" fmla="*/ 204 w 219"/>
                <a:gd name="T37" fmla="*/ 30 h 30"/>
                <a:gd name="T38" fmla="*/ 206 w 219"/>
                <a:gd name="T39" fmla="*/ 30 h 30"/>
                <a:gd name="T40" fmla="*/ 209 w 219"/>
                <a:gd name="T41" fmla="*/ 29 h 30"/>
                <a:gd name="T42" fmla="*/ 211 w 219"/>
                <a:gd name="T43" fmla="*/ 27 h 30"/>
                <a:gd name="T44" fmla="*/ 215 w 219"/>
                <a:gd name="T45" fmla="*/ 25 h 30"/>
                <a:gd name="T46" fmla="*/ 216 w 219"/>
                <a:gd name="T47" fmla="*/ 23 h 30"/>
                <a:gd name="T48" fmla="*/ 218 w 219"/>
                <a:gd name="T49" fmla="*/ 21 h 30"/>
                <a:gd name="T50" fmla="*/ 218 w 219"/>
                <a:gd name="T51" fmla="*/ 18 h 30"/>
                <a:gd name="T52" fmla="*/ 219 w 219"/>
                <a:gd name="T53" fmla="*/ 15 h 30"/>
                <a:gd name="T54" fmla="*/ 218 w 219"/>
                <a:gd name="T55" fmla="*/ 12 h 30"/>
                <a:gd name="T56" fmla="*/ 218 w 219"/>
                <a:gd name="T57" fmla="*/ 9 h 30"/>
                <a:gd name="T58" fmla="*/ 216 w 219"/>
                <a:gd name="T59" fmla="*/ 7 h 30"/>
                <a:gd name="T60" fmla="*/ 215 w 219"/>
                <a:gd name="T61" fmla="*/ 4 h 30"/>
                <a:gd name="T62" fmla="*/ 211 w 219"/>
                <a:gd name="T63" fmla="*/ 3 h 30"/>
                <a:gd name="T64" fmla="*/ 209 w 219"/>
                <a:gd name="T65" fmla="*/ 1 h 30"/>
                <a:gd name="T66" fmla="*/ 206 w 219"/>
                <a:gd name="T67" fmla="*/ 0 h 30"/>
                <a:gd name="T68" fmla="*/ 204 w 219"/>
                <a:gd name="T6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19" h="30">
                  <a:moveTo>
                    <a:pt x="204" y="0"/>
                  </a:moveTo>
                  <a:lnTo>
                    <a:pt x="15" y="0"/>
                  </a:lnTo>
                  <a:lnTo>
                    <a:pt x="11" y="0"/>
                  </a:lnTo>
                  <a:lnTo>
                    <a:pt x="8" y="1"/>
                  </a:lnTo>
                  <a:lnTo>
                    <a:pt x="6" y="3"/>
                  </a:lnTo>
                  <a:lnTo>
                    <a:pt x="4" y="4"/>
                  </a:lnTo>
                  <a:lnTo>
                    <a:pt x="2" y="7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1" y="21"/>
                  </a:lnTo>
                  <a:lnTo>
                    <a:pt x="2" y="23"/>
                  </a:lnTo>
                  <a:lnTo>
                    <a:pt x="4" y="25"/>
                  </a:lnTo>
                  <a:lnTo>
                    <a:pt x="6" y="27"/>
                  </a:lnTo>
                  <a:lnTo>
                    <a:pt x="8" y="29"/>
                  </a:lnTo>
                  <a:lnTo>
                    <a:pt x="11" y="30"/>
                  </a:lnTo>
                  <a:lnTo>
                    <a:pt x="15" y="30"/>
                  </a:lnTo>
                  <a:lnTo>
                    <a:pt x="204" y="30"/>
                  </a:lnTo>
                  <a:lnTo>
                    <a:pt x="206" y="30"/>
                  </a:lnTo>
                  <a:lnTo>
                    <a:pt x="209" y="29"/>
                  </a:lnTo>
                  <a:lnTo>
                    <a:pt x="211" y="27"/>
                  </a:lnTo>
                  <a:lnTo>
                    <a:pt x="215" y="25"/>
                  </a:lnTo>
                  <a:lnTo>
                    <a:pt x="216" y="23"/>
                  </a:lnTo>
                  <a:lnTo>
                    <a:pt x="218" y="21"/>
                  </a:lnTo>
                  <a:lnTo>
                    <a:pt x="218" y="18"/>
                  </a:lnTo>
                  <a:lnTo>
                    <a:pt x="219" y="15"/>
                  </a:lnTo>
                  <a:lnTo>
                    <a:pt x="218" y="12"/>
                  </a:lnTo>
                  <a:lnTo>
                    <a:pt x="218" y="9"/>
                  </a:lnTo>
                  <a:lnTo>
                    <a:pt x="216" y="7"/>
                  </a:lnTo>
                  <a:lnTo>
                    <a:pt x="215" y="4"/>
                  </a:lnTo>
                  <a:lnTo>
                    <a:pt x="211" y="3"/>
                  </a:lnTo>
                  <a:lnTo>
                    <a:pt x="209" y="1"/>
                  </a:lnTo>
                  <a:lnTo>
                    <a:pt x="206" y="0"/>
                  </a:lnTo>
                  <a:lnTo>
                    <a:pt x="20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346">
              <a:extLst>
                <a:ext uri="{FF2B5EF4-FFF2-40B4-BE49-F238E27FC236}">
                  <a16:creationId xmlns:a16="http://schemas.microsoft.com/office/drawing/2014/main" id="{9E71CD80-B00E-498C-8C41-DAF320AEA07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88688" y="2695575"/>
              <a:ext cx="46038" cy="9525"/>
            </a:xfrm>
            <a:custGeom>
              <a:avLst/>
              <a:gdLst>
                <a:gd name="T0" fmla="*/ 128 w 143"/>
                <a:gd name="T1" fmla="*/ 29 h 29"/>
                <a:gd name="T2" fmla="*/ 131 w 143"/>
                <a:gd name="T3" fmla="*/ 29 h 29"/>
                <a:gd name="T4" fmla="*/ 133 w 143"/>
                <a:gd name="T5" fmla="*/ 28 h 29"/>
                <a:gd name="T6" fmla="*/ 137 w 143"/>
                <a:gd name="T7" fmla="*/ 27 h 29"/>
                <a:gd name="T8" fmla="*/ 139 w 143"/>
                <a:gd name="T9" fmla="*/ 26 h 29"/>
                <a:gd name="T10" fmla="*/ 140 w 143"/>
                <a:gd name="T11" fmla="*/ 23 h 29"/>
                <a:gd name="T12" fmla="*/ 142 w 143"/>
                <a:gd name="T13" fmla="*/ 21 h 29"/>
                <a:gd name="T14" fmla="*/ 143 w 143"/>
                <a:gd name="T15" fmla="*/ 18 h 29"/>
                <a:gd name="T16" fmla="*/ 143 w 143"/>
                <a:gd name="T17" fmla="*/ 14 h 29"/>
                <a:gd name="T18" fmla="*/ 143 w 143"/>
                <a:gd name="T19" fmla="*/ 12 h 29"/>
                <a:gd name="T20" fmla="*/ 142 w 143"/>
                <a:gd name="T21" fmla="*/ 9 h 29"/>
                <a:gd name="T22" fmla="*/ 140 w 143"/>
                <a:gd name="T23" fmla="*/ 7 h 29"/>
                <a:gd name="T24" fmla="*/ 139 w 143"/>
                <a:gd name="T25" fmla="*/ 5 h 29"/>
                <a:gd name="T26" fmla="*/ 137 w 143"/>
                <a:gd name="T27" fmla="*/ 3 h 29"/>
                <a:gd name="T28" fmla="*/ 133 w 143"/>
                <a:gd name="T29" fmla="*/ 2 h 29"/>
                <a:gd name="T30" fmla="*/ 131 w 143"/>
                <a:gd name="T31" fmla="*/ 1 h 29"/>
                <a:gd name="T32" fmla="*/ 128 w 143"/>
                <a:gd name="T33" fmla="*/ 0 h 29"/>
                <a:gd name="T34" fmla="*/ 15 w 143"/>
                <a:gd name="T35" fmla="*/ 0 h 29"/>
                <a:gd name="T36" fmla="*/ 11 w 143"/>
                <a:gd name="T37" fmla="*/ 1 h 29"/>
                <a:gd name="T38" fmla="*/ 8 w 143"/>
                <a:gd name="T39" fmla="*/ 2 h 29"/>
                <a:gd name="T40" fmla="*/ 6 w 143"/>
                <a:gd name="T41" fmla="*/ 3 h 29"/>
                <a:gd name="T42" fmla="*/ 4 w 143"/>
                <a:gd name="T43" fmla="*/ 5 h 29"/>
                <a:gd name="T44" fmla="*/ 2 w 143"/>
                <a:gd name="T45" fmla="*/ 7 h 29"/>
                <a:gd name="T46" fmla="*/ 1 w 143"/>
                <a:gd name="T47" fmla="*/ 9 h 29"/>
                <a:gd name="T48" fmla="*/ 0 w 143"/>
                <a:gd name="T49" fmla="*/ 12 h 29"/>
                <a:gd name="T50" fmla="*/ 0 w 143"/>
                <a:gd name="T51" fmla="*/ 14 h 29"/>
                <a:gd name="T52" fmla="*/ 0 w 143"/>
                <a:gd name="T53" fmla="*/ 18 h 29"/>
                <a:gd name="T54" fmla="*/ 1 w 143"/>
                <a:gd name="T55" fmla="*/ 21 h 29"/>
                <a:gd name="T56" fmla="*/ 2 w 143"/>
                <a:gd name="T57" fmla="*/ 23 h 29"/>
                <a:gd name="T58" fmla="*/ 4 w 143"/>
                <a:gd name="T59" fmla="*/ 26 h 29"/>
                <a:gd name="T60" fmla="*/ 6 w 143"/>
                <a:gd name="T61" fmla="*/ 27 h 29"/>
                <a:gd name="T62" fmla="*/ 8 w 143"/>
                <a:gd name="T63" fmla="*/ 28 h 29"/>
                <a:gd name="T64" fmla="*/ 11 w 143"/>
                <a:gd name="T65" fmla="*/ 29 h 29"/>
                <a:gd name="T66" fmla="*/ 15 w 143"/>
                <a:gd name="T67" fmla="*/ 29 h 29"/>
                <a:gd name="T68" fmla="*/ 128 w 143"/>
                <a:gd name="T69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43" h="29">
                  <a:moveTo>
                    <a:pt x="128" y="29"/>
                  </a:moveTo>
                  <a:lnTo>
                    <a:pt x="131" y="29"/>
                  </a:lnTo>
                  <a:lnTo>
                    <a:pt x="133" y="28"/>
                  </a:lnTo>
                  <a:lnTo>
                    <a:pt x="137" y="27"/>
                  </a:lnTo>
                  <a:lnTo>
                    <a:pt x="139" y="26"/>
                  </a:lnTo>
                  <a:lnTo>
                    <a:pt x="140" y="23"/>
                  </a:lnTo>
                  <a:lnTo>
                    <a:pt x="142" y="21"/>
                  </a:lnTo>
                  <a:lnTo>
                    <a:pt x="143" y="18"/>
                  </a:lnTo>
                  <a:lnTo>
                    <a:pt x="143" y="14"/>
                  </a:lnTo>
                  <a:lnTo>
                    <a:pt x="143" y="12"/>
                  </a:lnTo>
                  <a:lnTo>
                    <a:pt x="142" y="9"/>
                  </a:lnTo>
                  <a:lnTo>
                    <a:pt x="140" y="7"/>
                  </a:lnTo>
                  <a:lnTo>
                    <a:pt x="139" y="5"/>
                  </a:lnTo>
                  <a:lnTo>
                    <a:pt x="137" y="3"/>
                  </a:lnTo>
                  <a:lnTo>
                    <a:pt x="133" y="2"/>
                  </a:lnTo>
                  <a:lnTo>
                    <a:pt x="131" y="1"/>
                  </a:lnTo>
                  <a:lnTo>
                    <a:pt x="128" y="0"/>
                  </a:lnTo>
                  <a:lnTo>
                    <a:pt x="15" y="0"/>
                  </a:lnTo>
                  <a:lnTo>
                    <a:pt x="11" y="1"/>
                  </a:lnTo>
                  <a:lnTo>
                    <a:pt x="8" y="2"/>
                  </a:lnTo>
                  <a:lnTo>
                    <a:pt x="6" y="3"/>
                  </a:lnTo>
                  <a:lnTo>
                    <a:pt x="4" y="5"/>
                  </a:lnTo>
                  <a:lnTo>
                    <a:pt x="2" y="7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4"/>
                  </a:lnTo>
                  <a:lnTo>
                    <a:pt x="0" y="18"/>
                  </a:lnTo>
                  <a:lnTo>
                    <a:pt x="1" y="21"/>
                  </a:lnTo>
                  <a:lnTo>
                    <a:pt x="2" y="23"/>
                  </a:lnTo>
                  <a:lnTo>
                    <a:pt x="4" y="26"/>
                  </a:lnTo>
                  <a:lnTo>
                    <a:pt x="6" y="27"/>
                  </a:lnTo>
                  <a:lnTo>
                    <a:pt x="8" y="28"/>
                  </a:lnTo>
                  <a:lnTo>
                    <a:pt x="11" y="29"/>
                  </a:lnTo>
                  <a:lnTo>
                    <a:pt x="15" y="29"/>
                  </a:lnTo>
                  <a:lnTo>
                    <a:pt x="128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8746653B-C950-42B8-AB6D-81408F2E05EA}"/>
              </a:ext>
            </a:extLst>
          </p:cNvPr>
          <p:cNvGrpSpPr/>
          <p:nvPr/>
        </p:nvGrpSpPr>
        <p:grpSpPr>
          <a:xfrm>
            <a:off x="7107159" y="2574622"/>
            <a:ext cx="486054" cy="483368"/>
            <a:chOff x="8167688" y="2505075"/>
            <a:chExt cx="287338" cy="285750"/>
          </a:xfrm>
          <a:solidFill>
            <a:srgbClr val="280E32"/>
          </a:solidFill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grpSpPr>
        <p:sp>
          <p:nvSpPr>
            <p:cNvPr id="48" name="Freeform 347">
              <a:extLst>
                <a:ext uri="{FF2B5EF4-FFF2-40B4-BE49-F238E27FC236}">
                  <a16:creationId xmlns:a16="http://schemas.microsoft.com/office/drawing/2014/main" id="{FC3C1113-0A29-4FAB-AB49-419F24ECE364}"/>
                </a:ext>
              </a:extLst>
            </p:cNvPr>
            <p:cNvSpPr>
              <a:spLocks/>
            </p:cNvSpPr>
            <p:nvPr/>
          </p:nvSpPr>
          <p:spPr bwMode="auto">
            <a:xfrm>
              <a:off x="8343900" y="2692400"/>
              <a:ext cx="76200" cy="58738"/>
            </a:xfrm>
            <a:custGeom>
              <a:avLst/>
              <a:gdLst>
                <a:gd name="T0" fmla="*/ 214 w 240"/>
                <a:gd name="T1" fmla="*/ 5 h 187"/>
                <a:gd name="T2" fmla="*/ 90 w 240"/>
                <a:gd name="T3" fmla="*/ 143 h 187"/>
                <a:gd name="T4" fmla="*/ 26 w 240"/>
                <a:gd name="T5" fmla="*/ 79 h 187"/>
                <a:gd name="T6" fmla="*/ 24 w 240"/>
                <a:gd name="T7" fmla="*/ 77 h 187"/>
                <a:gd name="T8" fmla="*/ 20 w 240"/>
                <a:gd name="T9" fmla="*/ 75 h 187"/>
                <a:gd name="T10" fmla="*/ 18 w 240"/>
                <a:gd name="T11" fmla="*/ 75 h 187"/>
                <a:gd name="T12" fmla="*/ 15 w 240"/>
                <a:gd name="T13" fmla="*/ 73 h 187"/>
                <a:gd name="T14" fmla="*/ 12 w 240"/>
                <a:gd name="T15" fmla="*/ 75 h 187"/>
                <a:gd name="T16" fmla="*/ 10 w 240"/>
                <a:gd name="T17" fmla="*/ 76 h 187"/>
                <a:gd name="T18" fmla="*/ 6 w 240"/>
                <a:gd name="T19" fmla="*/ 77 h 187"/>
                <a:gd name="T20" fmla="*/ 4 w 240"/>
                <a:gd name="T21" fmla="*/ 79 h 187"/>
                <a:gd name="T22" fmla="*/ 2 w 240"/>
                <a:gd name="T23" fmla="*/ 81 h 187"/>
                <a:gd name="T24" fmla="*/ 1 w 240"/>
                <a:gd name="T25" fmla="*/ 84 h 187"/>
                <a:gd name="T26" fmla="*/ 0 w 240"/>
                <a:gd name="T27" fmla="*/ 86 h 187"/>
                <a:gd name="T28" fmla="*/ 0 w 240"/>
                <a:gd name="T29" fmla="*/ 90 h 187"/>
                <a:gd name="T30" fmla="*/ 0 w 240"/>
                <a:gd name="T31" fmla="*/ 93 h 187"/>
                <a:gd name="T32" fmla="*/ 1 w 240"/>
                <a:gd name="T33" fmla="*/ 95 h 187"/>
                <a:gd name="T34" fmla="*/ 2 w 240"/>
                <a:gd name="T35" fmla="*/ 97 h 187"/>
                <a:gd name="T36" fmla="*/ 4 w 240"/>
                <a:gd name="T37" fmla="*/ 99 h 187"/>
                <a:gd name="T38" fmla="*/ 91 w 240"/>
                <a:gd name="T39" fmla="*/ 187 h 187"/>
                <a:gd name="T40" fmla="*/ 237 w 240"/>
                <a:gd name="T41" fmla="*/ 24 h 187"/>
                <a:gd name="T42" fmla="*/ 239 w 240"/>
                <a:gd name="T43" fmla="*/ 22 h 187"/>
                <a:gd name="T44" fmla="*/ 240 w 240"/>
                <a:gd name="T45" fmla="*/ 19 h 187"/>
                <a:gd name="T46" fmla="*/ 240 w 240"/>
                <a:gd name="T47" fmla="*/ 17 h 187"/>
                <a:gd name="T48" fmla="*/ 240 w 240"/>
                <a:gd name="T49" fmla="*/ 14 h 187"/>
                <a:gd name="T50" fmla="*/ 240 w 240"/>
                <a:gd name="T51" fmla="*/ 11 h 187"/>
                <a:gd name="T52" fmla="*/ 239 w 240"/>
                <a:gd name="T53" fmla="*/ 8 h 187"/>
                <a:gd name="T54" fmla="*/ 238 w 240"/>
                <a:gd name="T55" fmla="*/ 6 h 187"/>
                <a:gd name="T56" fmla="*/ 235 w 240"/>
                <a:gd name="T57" fmla="*/ 3 h 187"/>
                <a:gd name="T58" fmla="*/ 233 w 240"/>
                <a:gd name="T59" fmla="*/ 2 h 187"/>
                <a:gd name="T60" fmla="*/ 230 w 240"/>
                <a:gd name="T61" fmla="*/ 1 h 187"/>
                <a:gd name="T62" fmla="*/ 227 w 240"/>
                <a:gd name="T63" fmla="*/ 0 h 187"/>
                <a:gd name="T64" fmla="*/ 225 w 240"/>
                <a:gd name="T65" fmla="*/ 0 h 187"/>
                <a:gd name="T66" fmla="*/ 218 w 240"/>
                <a:gd name="T67" fmla="*/ 2 h 187"/>
                <a:gd name="T68" fmla="*/ 214 w 240"/>
                <a:gd name="T69" fmla="*/ 5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40" h="187">
                  <a:moveTo>
                    <a:pt x="214" y="5"/>
                  </a:moveTo>
                  <a:lnTo>
                    <a:pt x="90" y="143"/>
                  </a:lnTo>
                  <a:lnTo>
                    <a:pt x="26" y="79"/>
                  </a:lnTo>
                  <a:lnTo>
                    <a:pt x="24" y="77"/>
                  </a:lnTo>
                  <a:lnTo>
                    <a:pt x="20" y="75"/>
                  </a:lnTo>
                  <a:lnTo>
                    <a:pt x="18" y="75"/>
                  </a:lnTo>
                  <a:lnTo>
                    <a:pt x="15" y="73"/>
                  </a:lnTo>
                  <a:lnTo>
                    <a:pt x="12" y="75"/>
                  </a:lnTo>
                  <a:lnTo>
                    <a:pt x="10" y="76"/>
                  </a:lnTo>
                  <a:lnTo>
                    <a:pt x="6" y="77"/>
                  </a:lnTo>
                  <a:lnTo>
                    <a:pt x="4" y="79"/>
                  </a:lnTo>
                  <a:lnTo>
                    <a:pt x="2" y="81"/>
                  </a:lnTo>
                  <a:lnTo>
                    <a:pt x="1" y="84"/>
                  </a:lnTo>
                  <a:lnTo>
                    <a:pt x="0" y="86"/>
                  </a:lnTo>
                  <a:lnTo>
                    <a:pt x="0" y="90"/>
                  </a:lnTo>
                  <a:lnTo>
                    <a:pt x="0" y="93"/>
                  </a:lnTo>
                  <a:lnTo>
                    <a:pt x="1" y="95"/>
                  </a:lnTo>
                  <a:lnTo>
                    <a:pt x="2" y="97"/>
                  </a:lnTo>
                  <a:lnTo>
                    <a:pt x="4" y="99"/>
                  </a:lnTo>
                  <a:lnTo>
                    <a:pt x="91" y="187"/>
                  </a:lnTo>
                  <a:lnTo>
                    <a:pt x="237" y="24"/>
                  </a:lnTo>
                  <a:lnTo>
                    <a:pt x="239" y="22"/>
                  </a:lnTo>
                  <a:lnTo>
                    <a:pt x="240" y="19"/>
                  </a:lnTo>
                  <a:lnTo>
                    <a:pt x="240" y="17"/>
                  </a:lnTo>
                  <a:lnTo>
                    <a:pt x="240" y="14"/>
                  </a:lnTo>
                  <a:lnTo>
                    <a:pt x="240" y="11"/>
                  </a:lnTo>
                  <a:lnTo>
                    <a:pt x="239" y="8"/>
                  </a:lnTo>
                  <a:lnTo>
                    <a:pt x="238" y="6"/>
                  </a:lnTo>
                  <a:lnTo>
                    <a:pt x="235" y="3"/>
                  </a:lnTo>
                  <a:lnTo>
                    <a:pt x="233" y="2"/>
                  </a:lnTo>
                  <a:lnTo>
                    <a:pt x="230" y="1"/>
                  </a:lnTo>
                  <a:lnTo>
                    <a:pt x="227" y="0"/>
                  </a:lnTo>
                  <a:lnTo>
                    <a:pt x="225" y="0"/>
                  </a:lnTo>
                  <a:lnTo>
                    <a:pt x="218" y="2"/>
                  </a:lnTo>
                  <a:lnTo>
                    <a:pt x="214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348">
              <a:extLst>
                <a:ext uri="{FF2B5EF4-FFF2-40B4-BE49-F238E27FC236}">
                  <a16:creationId xmlns:a16="http://schemas.microsoft.com/office/drawing/2014/main" id="{B8D13A9B-0BD6-4195-9DF6-189E7906962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310563" y="2647950"/>
              <a:ext cx="144463" cy="142875"/>
            </a:xfrm>
            <a:custGeom>
              <a:avLst/>
              <a:gdLst>
                <a:gd name="T0" fmla="*/ 185 w 451"/>
                <a:gd name="T1" fmla="*/ 416 h 450"/>
                <a:gd name="T2" fmla="*/ 132 w 451"/>
                <a:gd name="T3" fmla="*/ 397 h 450"/>
                <a:gd name="T4" fmla="*/ 87 w 451"/>
                <a:gd name="T5" fmla="*/ 364 h 450"/>
                <a:gd name="T6" fmla="*/ 54 w 451"/>
                <a:gd name="T7" fmla="*/ 319 h 450"/>
                <a:gd name="T8" fmla="*/ 33 w 451"/>
                <a:gd name="T9" fmla="*/ 264 h 450"/>
                <a:gd name="T10" fmla="*/ 31 w 451"/>
                <a:gd name="T11" fmla="*/ 205 h 450"/>
                <a:gd name="T12" fmla="*/ 45 w 451"/>
                <a:gd name="T13" fmla="*/ 150 h 450"/>
                <a:gd name="T14" fmla="*/ 74 w 451"/>
                <a:gd name="T15" fmla="*/ 101 h 450"/>
                <a:gd name="T16" fmla="*/ 116 w 451"/>
                <a:gd name="T17" fmla="*/ 63 h 450"/>
                <a:gd name="T18" fmla="*/ 167 w 451"/>
                <a:gd name="T19" fmla="*/ 38 h 450"/>
                <a:gd name="T20" fmla="*/ 225 w 451"/>
                <a:gd name="T21" fmla="*/ 30 h 450"/>
                <a:gd name="T22" fmla="*/ 283 w 451"/>
                <a:gd name="T23" fmla="*/ 38 h 450"/>
                <a:gd name="T24" fmla="*/ 334 w 451"/>
                <a:gd name="T25" fmla="*/ 63 h 450"/>
                <a:gd name="T26" fmla="*/ 376 w 451"/>
                <a:gd name="T27" fmla="*/ 101 h 450"/>
                <a:gd name="T28" fmla="*/ 405 w 451"/>
                <a:gd name="T29" fmla="*/ 150 h 450"/>
                <a:gd name="T30" fmla="*/ 420 w 451"/>
                <a:gd name="T31" fmla="*/ 205 h 450"/>
                <a:gd name="T32" fmla="*/ 416 w 451"/>
                <a:gd name="T33" fmla="*/ 264 h 450"/>
                <a:gd name="T34" fmla="*/ 397 w 451"/>
                <a:gd name="T35" fmla="*/ 319 h 450"/>
                <a:gd name="T36" fmla="*/ 363 w 451"/>
                <a:gd name="T37" fmla="*/ 364 h 450"/>
                <a:gd name="T38" fmla="*/ 318 w 451"/>
                <a:gd name="T39" fmla="*/ 397 h 450"/>
                <a:gd name="T40" fmla="*/ 264 w 451"/>
                <a:gd name="T41" fmla="*/ 416 h 450"/>
                <a:gd name="T42" fmla="*/ 225 w 451"/>
                <a:gd name="T43" fmla="*/ 0 h 450"/>
                <a:gd name="T44" fmla="*/ 191 w 451"/>
                <a:gd name="T45" fmla="*/ 2 h 450"/>
                <a:gd name="T46" fmla="*/ 159 w 451"/>
                <a:gd name="T47" fmla="*/ 10 h 450"/>
                <a:gd name="T48" fmla="*/ 118 w 451"/>
                <a:gd name="T49" fmla="*/ 28 h 450"/>
                <a:gd name="T50" fmla="*/ 65 w 451"/>
                <a:gd name="T51" fmla="*/ 66 h 450"/>
                <a:gd name="T52" fmla="*/ 27 w 451"/>
                <a:gd name="T53" fmla="*/ 118 h 450"/>
                <a:gd name="T54" fmla="*/ 10 w 451"/>
                <a:gd name="T55" fmla="*/ 158 h 450"/>
                <a:gd name="T56" fmla="*/ 2 w 451"/>
                <a:gd name="T57" fmla="*/ 191 h 450"/>
                <a:gd name="T58" fmla="*/ 0 w 451"/>
                <a:gd name="T59" fmla="*/ 224 h 450"/>
                <a:gd name="T60" fmla="*/ 2 w 451"/>
                <a:gd name="T61" fmla="*/ 260 h 450"/>
                <a:gd name="T62" fmla="*/ 10 w 451"/>
                <a:gd name="T63" fmla="*/ 292 h 450"/>
                <a:gd name="T64" fmla="*/ 27 w 451"/>
                <a:gd name="T65" fmla="*/ 333 h 450"/>
                <a:gd name="T66" fmla="*/ 65 w 451"/>
                <a:gd name="T67" fmla="*/ 384 h 450"/>
                <a:gd name="T68" fmla="*/ 118 w 451"/>
                <a:gd name="T69" fmla="*/ 423 h 450"/>
                <a:gd name="T70" fmla="*/ 159 w 451"/>
                <a:gd name="T71" fmla="*/ 441 h 450"/>
                <a:gd name="T72" fmla="*/ 191 w 451"/>
                <a:gd name="T73" fmla="*/ 448 h 450"/>
                <a:gd name="T74" fmla="*/ 225 w 451"/>
                <a:gd name="T75" fmla="*/ 450 h 450"/>
                <a:gd name="T76" fmla="*/ 259 w 451"/>
                <a:gd name="T77" fmla="*/ 448 h 450"/>
                <a:gd name="T78" fmla="*/ 292 w 451"/>
                <a:gd name="T79" fmla="*/ 441 h 450"/>
                <a:gd name="T80" fmla="*/ 332 w 451"/>
                <a:gd name="T81" fmla="*/ 423 h 450"/>
                <a:gd name="T82" fmla="*/ 384 w 451"/>
                <a:gd name="T83" fmla="*/ 384 h 450"/>
                <a:gd name="T84" fmla="*/ 423 w 451"/>
                <a:gd name="T85" fmla="*/ 333 h 450"/>
                <a:gd name="T86" fmla="*/ 440 w 451"/>
                <a:gd name="T87" fmla="*/ 292 h 450"/>
                <a:gd name="T88" fmla="*/ 447 w 451"/>
                <a:gd name="T89" fmla="*/ 260 h 450"/>
                <a:gd name="T90" fmla="*/ 451 w 451"/>
                <a:gd name="T91" fmla="*/ 224 h 450"/>
                <a:gd name="T92" fmla="*/ 447 w 451"/>
                <a:gd name="T93" fmla="*/ 191 h 450"/>
                <a:gd name="T94" fmla="*/ 440 w 451"/>
                <a:gd name="T95" fmla="*/ 158 h 450"/>
                <a:gd name="T96" fmla="*/ 423 w 451"/>
                <a:gd name="T97" fmla="*/ 118 h 450"/>
                <a:gd name="T98" fmla="*/ 384 w 451"/>
                <a:gd name="T99" fmla="*/ 66 h 450"/>
                <a:gd name="T100" fmla="*/ 332 w 451"/>
                <a:gd name="T101" fmla="*/ 28 h 450"/>
                <a:gd name="T102" fmla="*/ 292 w 451"/>
                <a:gd name="T103" fmla="*/ 10 h 450"/>
                <a:gd name="T104" fmla="*/ 259 w 451"/>
                <a:gd name="T105" fmla="*/ 2 h 450"/>
                <a:gd name="T106" fmla="*/ 225 w 451"/>
                <a:gd name="T107" fmla="*/ 0 h 4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51" h="450">
                  <a:moveTo>
                    <a:pt x="225" y="420"/>
                  </a:moveTo>
                  <a:lnTo>
                    <a:pt x="206" y="419"/>
                  </a:lnTo>
                  <a:lnTo>
                    <a:pt x="185" y="416"/>
                  </a:lnTo>
                  <a:lnTo>
                    <a:pt x="167" y="412"/>
                  </a:lnTo>
                  <a:lnTo>
                    <a:pt x="149" y="405"/>
                  </a:lnTo>
                  <a:lnTo>
                    <a:pt x="132" y="397"/>
                  </a:lnTo>
                  <a:lnTo>
                    <a:pt x="116" y="387"/>
                  </a:lnTo>
                  <a:lnTo>
                    <a:pt x="101" y="375"/>
                  </a:lnTo>
                  <a:lnTo>
                    <a:pt x="87" y="364"/>
                  </a:lnTo>
                  <a:lnTo>
                    <a:pt x="74" y="350"/>
                  </a:lnTo>
                  <a:lnTo>
                    <a:pt x="63" y="335"/>
                  </a:lnTo>
                  <a:lnTo>
                    <a:pt x="54" y="319"/>
                  </a:lnTo>
                  <a:lnTo>
                    <a:pt x="45" y="301"/>
                  </a:lnTo>
                  <a:lnTo>
                    <a:pt x="39" y="283"/>
                  </a:lnTo>
                  <a:lnTo>
                    <a:pt x="33" y="264"/>
                  </a:lnTo>
                  <a:lnTo>
                    <a:pt x="31" y="245"/>
                  </a:lnTo>
                  <a:lnTo>
                    <a:pt x="30" y="224"/>
                  </a:lnTo>
                  <a:lnTo>
                    <a:pt x="31" y="205"/>
                  </a:lnTo>
                  <a:lnTo>
                    <a:pt x="33" y="186"/>
                  </a:lnTo>
                  <a:lnTo>
                    <a:pt x="39" y="168"/>
                  </a:lnTo>
                  <a:lnTo>
                    <a:pt x="45" y="150"/>
                  </a:lnTo>
                  <a:lnTo>
                    <a:pt x="54" y="132"/>
                  </a:lnTo>
                  <a:lnTo>
                    <a:pt x="63" y="116"/>
                  </a:lnTo>
                  <a:lnTo>
                    <a:pt x="74" y="101"/>
                  </a:lnTo>
                  <a:lnTo>
                    <a:pt x="87" y="87"/>
                  </a:lnTo>
                  <a:lnTo>
                    <a:pt x="101" y="75"/>
                  </a:lnTo>
                  <a:lnTo>
                    <a:pt x="116" y="63"/>
                  </a:lnTo>
                  <a:lnTo>
                    <a:pt x="132" y="53"/>
                  </a:lnTo>
                  <a:lnTo>
                    <a:pt x="149" y="46"/>
                  </a:lnTo>
                  <a:lnTo>
                    <a:pt x="167" y="38"/>
                  </a:lnTo>
                  <a:lnTo>
                    <a:pt x="185" y="34"/>
                  </a:lnTo>
                  <a:lnTo>
                    <a:pt x="206" y="31"/>
                  </a:lnTo>
                  <a:lnTo>
                    <a:pt x="225" y="30"/>
                  </a:lnTo>
                  <a:lnTo>
                    <a:pt x="245" y="31"/>
                  </a:lnTo>
                  <a:lnTo>
                    <a:pt x="264" y="34"/>
                  </a:lnTo>
                  <a:lnTo>
                    <a:pt x="283" y="38"/>
                  </a:lnTo>
                  <a:lnTo>
                    <a:pt x="301" y="46"/>
                  </a:lnTo>
                  <a:lnTo>
                    <a:pt x="318" y="53"/>
                  </a:lnTo>
                  <a:lnTo>
                    <a:pt x="334" y="63"/>
                  </a:lnTo>
                  <a:lnTo>
                    <a:pt x="349" y="75"/>
                  </a:lnTo>
                  <a:lnTo>
                    <a:pt x="363" y="87"/>
                  </a:lnTo>
                  <a:lnTo>
                    <a:pt x="376" y="101"/>
                  </a:lnTo>
                  <a:lnTo>
                    <a:pt x="386" y="116"/>
                  </a:lnTo>
                  <a:lnTo>
                    <a:pt x="397" y="132"/>
                  </a:lnTo>
                  <a:lnTo>
                    <a:pt x="405" y="150"/>
                  </a:lnTo>
                  <a:lnTo>
                    <a:pt x="411" y="168"/>
                  </a:lnTo>
                  <a:lnTo>
                    <a:pt x="416" y="186"/>
                  </a:lnTo>
                  <a:lnTo>
                    <a:pt x="420" y="205"/>
                  </a:lnTo>
                  <a:lnTo>
                    <a:pt x="421" y="224"/>
                  </a:lnTo>
                  <a:lnTo>
                    <a:pt x="420" y="245"/>
                  </a:lnTo>
                  <a:lnTo>
                    <a:pt x="416" y="264"/>
                  </a:lnTo>
                  <a:lnTo>
                    <a:pt x="411" y="283"/>
                  </a:lnTo>
                  <a:lnTo>
                    <a:pt x="405" y="301"/>
                  </a:lnTo>
                  <a:lnTo>
                    <a:pt x="397" y="319"/>
                  </a:lnTo>
                  <a:lnTo>
                    <a:pt x="386" y="335"/>
                  </a:lnTo>
                  <a:lnTo>
                    <a:pt x="376" y="350"/>
                  </a:lnTo>
                  <a:lnTo>
                    <a:pt x="363" y="364"/>
                  </a:lnTo>
                  <a:lnTo>
                    <a:pt x="349" y="375"/>
                  </a:lnTo>
                  <a:lnTo>
                    <a:pt x="334" y="387"/>
                  </a:lnTo>
                  <a:lnTo>
                    <a:pt x="318" y="397"/>
                  </a:lnTo>
                  <a:lnTo>
                    <a:pt x="301" y="405"/>
                  </a:lnTo>
                  <a:lnTo>
                    <a:pt x="283" y="412"/>
                  </a:lnTo>
                  <a:lnTo>
                    <a:pt x="264" y="416"/>
                  </a:lnTo>
                  <a:lnTo>
                    <a:pt x="245" y="419"/>
                  </a:lnTo>
                  <a:lnTo>
                    <a:pt x="225" y="420"/>
                  </a:lnTo>
                  <a:close/>
                  <a:moveTo>
                    <a:pt x="225" y="0"/>
                  </a:moveTo>
                  <a:lnTo>
                    <a:pt x="213" y="0"/>
                  </a:lnTo>
                  <a:lnTo>
                    <a:pt x="202" y="1"/>
                  </a:lnTo>
                  <a:lnTo>
                    <a:pt x="191" y="2"/>
                  </a:lnTo>
                  <a:lnTo>
                    <a:pt x="180" y="4"/>
                  </a:lnTo>
                  <a:lnTo>
                    <a:pt x="169" y="7"/>
                  </a:lnTo>
                  <a:lnTo>
                    <a:pt x="159" y="10"/>
                  </a:lnTo>
                  <a:lnTo>
                    <a:pt x="148" y="14"/>
                  </a:lnTo>
                  <a:lnTo>
                    <a:pt x="137" y="18"/>
                  </a:lnTo>
                  <a:lnTo>
                    <a:pt x="118" y="28"/>
                  </a:lnTo>
                  <a:lnTo>
                    <a:pt x="100" y="38"/>
                  </a:lnTo>
                  <a:lnTo>
                    <a:pt x="82" y="51"/>
                  </a:lnTo>
                  <a:lnTo>
                    <a:pt x="65" y="66"/>
                  </a:lnTo>
                  <a:lnTo>
                    <a:pt x="52" y="82"/>
                  </a:lnTo>
                  <a:lnTo>
                    <a:pt x="39" y="99"/>
                  </a:lnTo>
                  <a:lnTo>
                    <a:pt x="27" y="118"/>
                  </a:lnTo>
                  <a:lnTo>
                    <a:pt x="17" y="138"/>
                  </a:lnTo>
                  <a:lnTo>
                    <a:pt x="13" y="148"/>
                  </a:lnTo>
                  <a:lnTo>
                    <a:pt x="10" y="158"/>
                  </a:lnTo>
                  <a:lnTo>
                    <a:pt x="7" y="169"/>
                  </a:lnTo>
                  <a:lnTo>
                    <a:pt x="4" y="179"/>
                  </a:lnTo>
                  <a:lnTo>
                    <a:pt x="2" y="191"/>
                  </a:lnTo>
                  <a:lnTo>
                    <a:pt x="1" y="202"/>
                  </a:lnTo>
                  <a:lnTo>
                    <a:pt x="0" y="214"/>
                  </a:lnTo>
                  <a:lnTo>
                    <a:pt x="0" y="224"/>
                  </a:lnTo>
                  <a:lnTo>
                    <a:pt x="0" y="236"/>
                  </a:lnTo>
                  <a:lnTo>
                    <a:pt x="1" y="248"/>
                  </a:lnTo>
                  <a:lnTo>
                    <a:pt x="2" y="260"/>
                  </a:lnTo>
                  <a:lnTo>
                    <a:pt x="4" y="270"/>
                  </a:lnTo>
                  <a:lnTo>
                    <a:pt x="7" y="281"/>
                  </a:lnTo>
                  <a:lnTo>
                    <a:pt x="10" y="292"/>
                  </a:lnTo>
                  <a:lnTo>
                    <a:pt x="13" y="303"/>
                  </a:lnTo>
                  <a:lnTo>
                    <a:pt x="17" y="313"/>
                  </a:lnTo>
                  <a:lnTo>
                    <a:pt x="27" y="333"/>
                  </a:lnTo>
                  <a:lnTo>
                    <a:pt x="39" y="351"/>
                  </a:lnTo>
                  <a:lnTo>
                    <a:pt x="52" y="368"/>
                  </a:lnTo>
                  <a:lnTo>
                    <a:pt x="65" y="384"/>
                  </a:lnTo>
                  <a:lnTo>
                    <a:pt x="82" y="399"/>
                  </a:lnTo>
                  <a:lnTo>
                    <a:pt x="100" y="412"/>
                  </a:lnTo>
                  <a:lnTo>
                    <a:pt x="118" y="423"/>
                  </a:lnTo>
                  <a:lnTo>
                    <a:pt x="137" y="432"/>
                  </a:lnTo>
                  <a:lnTo>
                    <a:pt x="148" y="436"/>
                  </a:lnTo>
                  <a:lnTo>
                    <a:pt x="159" y="441"/>
                  </a:lnTo>
                  <a:lnTo>
                    <a:pt x="169" y="443"/>
                  </a:lnTo>
                  <a:lnTo>
                    <a:pt x="180" y="446"/>
                  </a:lnTo>
                  <a:lnTo>
                    <a:pt x="191" y="448"/>
                  </a:lnTo>
                  <a:lnTo>
                    <a:pt x="202" y="449"/>
                  </a:lnTo>
                  <a:lnTo>
                    <a:pt x="213" y="450"/>
                  </a:lnTo>
                  <a:lnTo>
                    <a:pt x="225" y="450"/>
                  </a:lnTo>
                  <a:lnTo>
                    <a:pt x="237" y="450"/>
                  </a:lnTo>
                  <a:lnTo>
                    <a:pt x="248" y="449"/>
                  </a:lnTo>
                  <a:lnTo>
                    <a:pt x="259" y="448"/>
                  </a:lnTo>
                  <a:lnTo>
                    <a:pt x="271" y="446"/>
                  </a:lnTo>
                  <a:lnTo>
                    <a:pt x="282" y="443"/>
                  </a:lnTo>
                  <a:lnTo>
                    <a:pt x="292" y="441"/>
                  </a:lnTo>
                  <a:lnTo>
                    <a:pt x="303" y="436"/>
                  </a:lnTo>
                  <a:lnTo>
                    <a:pt x="313" y="432"/>
                  </a:lnTo>
                  <a:lnTo>
                    <a:pt x="332" y="423"/>
                  </a:lnTo>
                  <a:lnTo>
                    <a:pt x="351" y="412"/>
                  </a:lnTo>
                  <a:lnTo>
                    <a:pt x="368" y="399"/>
                  </a:lnTo>
                  <a:lnTo>
                    <a:pt x="384" y="384"/>
                  </a:lnTo>
                  <a:lnTo>
                    <a:pt x="399" y="368"/>
                  </a:lnTo>
                  <a:lnTo>
                    <a:pt x="412" y="351"/>
                  </a:lnTo>
                  <a:lnTo>
                    <a:pt x="423" y="333"/>
                  </a:lnTo>
                  <a:lnTo>
                    <a:pt x="432" y="313"/>
                  </a:lnTo>
                  <a:lnTo>
                    <a:pt x="437" y="303"/>
                  </a:lnTo>
                  <a:lnTo>
                    <a:pt x="440" y="292"/>
                  </a:lnTo>
                  <a:lnTo>
                    <a:pt x="443" y="281"/>
                  </a:lnTo>
                  <a:lnTo>
                    <a:pt x="445" y="270"/>
                  </a:lnTo>
                  <a:lnTo>
                    <a:pt x="447" y="260"/>
                  </a:lnTo>
                  <a:lnTo>
                    <a:pt x="450" y="248"/>
                  </a:lnTo>
                  <a:lnTo>
                    <a:pt x="450" y="236"/>
                  </a:lnTo>
                  <a:lnTo>
                    <a:pt x="451" y="224"/>
                  </a:lnTo>
                  <a:lnTo>
                    <a:pt x="450" y="214"/>
                  </a:lnTo>
                  <a:lnTo>
                    <a:pt x="450" y="202"/>
                  </a:lnTo>
                  <a:lnTo>
                    <a:pt x="447" y="191"/>
                  </a:lnTo>
                  <a:lnTo>
                    <a:pt x="445" y="179"/>
                  </a:lnTo>
                  <a:lnTo>
                    <a:pt x="443" y="169"/>
                  </a:lnTo>
                  <a:lnTo>
                    <a:pt x="440" y="158"/>
                  </a:lnTo>
                  <a:lnTo>
                    <a:pt x="437" y="148"/>
                  </a:lnTo>
                  <a:lnTo>
                    <a:pt x="432" y="138"/>
                  </a:lnTo>
                  <a:lnTo>
                    <a:pt x="423" y="118"/>
                  </a:lnTo>
                  <a:lnTo>
                    <a:pt x="412" y="99"/>
                  </a:lnTo>
                  <a:lnTo>
                    <a:pt x="399" y="82"/>
                  </a:lnTo>
                  <a:lnTo>
                    <a:pt x="384" y="66"/>
                  </a:lnTo>
                  <a:lnTo>
                    <a:pt x="368" y="51"/>
                  </a:lnTo>
                  <a:lnTo>
                    <a:pt x="351" y="38"/>
                  </a:lnTo>
                  <a:lnTo>
                    <a:pt x="332" y="28"/>
                  </a:lnTo>
                  <a:lnTo>
                    <a:pt x="313" y="18"/>
                  </a:lnTo>
                  <a:lnTo>
                    <a:pt x="303" y="14"/>
                  </a:lnTo>
                  <a:lnTo>
                    <a:pt x="292" y="10"/>
                  </a:lnTo>
                  <a:lnTo>
                    <a:pt x="282" y="7"/>
                  </a:lnTo>
                  <a:lnTo>
                    <a:pt x="271" y="4"/>
                  </a:lnTo>
                  <a:lnTo>
                    <a:pt x="259" y="2"/>
                  </a:lnTo>
                  <a:lnTo>
                    <a:pt x="248" y="1"/>
                  </a:lnTo>
                  <a:lnTo>
                    <a:pt x="237" y="0"/>
                  </a:lnTo>
                  <a:lnTo>
                    <a:pt x="22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349">
              <a:extLst>
                <a:ext uri="{FF2B5EF4-FFF2-40B4-BE49-F238E27FC236}">
                  <a16:creationId xmlns:a16="http://schemas.microsoft.com/office/drawing/2014/main" id="{19761862-73A1-44AF-A4E0-8223CF91C05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167688" y="2505075"/>
              <a:ext cx="200025" cy="257175"/>
            </a:xfrm>
            <a:custGeom>
              <a:avLst/>
              <a:gdLst>
                <a:gd name="T0" fmla="*/ 250 w 630"/>
                <a:gd name="T1" fmla="*/ 88 h 811"/>
                <a:gd name="T2" fmla="*/ 257 w 630"/>
                <a:gd name="T3" fmla="*/ 75 h 811"/>
                <a:gd name="T4" fmla="*/ 263 w 630"/>
                <a:gd name="T5" fmla="*/ 52 h 811"/>
                <a:gd name="T6" fmla="*/ 291 w 630"/>
                <a:gd name="T7" fmla="*/ 33 h 811"/>
                <a:gd name="T8" fmla="*/ 354 w 630"/>
                <a:gd name="T9" fmla="*/ 37 h 811"/>
                <a:gd name="T10" fmla="*/ 374 w 630"/>
                <a:gd name="T11" fmla="*/ 56 h 811"/>
                <a:gd name="T12" fmla="*/ 378 w 630"/>
                <a:gd name="T13" fmla="*/ 78 h 811"/>
                <a:gd name="T14" fmla="*/ 387 w 630"/>
                <a:gd name="T15" fmla="*/ 89 h 811"/>
                <a:gd name="T16" fmla="*/ 179 w 630"/>
                <a:gd name="T17" fmla="*/ 240 h 811"/>
                <a:gd name="T18" fmla="*/ 53 w 630"/>
                <a:gd name="T19" fmla="*/ 779 h 811"/>
                <a:gd name="T20" fmla="*/ 30 w 630"/>
                <a:gd name="T21" fmla="*/ 748 h 811"/>
                <a:gd name="T22" fmla="*/ 75 w 630"/>
                <a:gd name="T23" fmla="*/ 180 h 811"/>
                <a:gd name="T24" fmla="*/ 62 w 630"/>
                <a:gd name="T25" fmla="*/ 187 h 811"/>
                <a:gd name="T26" fmla="*/ 60 w 630"/>
                <a:gd name="T27" fmla="*/ 740 h 811"/>
                <a:gd name="T28" fmla="*/ 68 w 630"/>
                <a:gd name="T29" fmla="*/ 750 h 811"/>
                <a:gd name="T30" fmla="*/ 361 w 630"/>
                <a:gd name="T31" fmla="*/ 750 h 811"/>
                <a:gd name="T32" fmla="*/ 370 w 630"/>
                <a:gd name="T33" fmla="*/ 740 h 811"/>
                <a:gd name="T34" fmla="*/ 366 w 630"/>
                <a:gd name="T35" fmla="*/ 726 h 811"/>
                <a:gd name="T36" fmla="*/ 90 w 630"/>
                <a:gd name="T37" fmla="*/ 721 h 811"/>
                <a:gd name="T38" fmla="*/ 151 w 630"/>
                <a:gd name="T39" fmla="*/ 261 h 811"/>
                <a:gd name="T40" fmla="*/ 161 w 630"/>
                <a:gd name="T41" fmla="*/ 270 h 811"/>
                <a:gd name="T42" fmla="*/ 474 w 630"/>
                <a:gd name="T43" fmla="*/ 268 h 811"/>
                <a:gd name="T44" fmla="*/ 480 w 630"/>
                <a:gd name="T45" fmla="*/ 256 h 811"/>
                <a:gd name="T46" fmla="*/ 541 w 630"/>
                <a:gd name="T47" fmla="*/ 366 h 811"/>
                <a:gd name="T48" fmla="*/ 552 w 630"/>
                <a:gd name="T49" fmla="*/ 376 h 811"/>
                <a:gd name="T50" fmla="*/ 566 w 630"/>
                <a:gd name="T51" fmla="*/ 371 h 811"/>
                <a:gd name="T52" fmla="*/ 570 w 630"/>
                <a:gd name="T53" fmla="*/ 195 h 811"/>
                <a:gd name="T54" fmla="*/ 564 w 630"/>
                <a:gd name="T55" fmla="*/ 183 h 811"/>
                <a:gd name="T56" fmla="*/ 480 w 630"/>
                <a:gd name="T57" fmla="*/ 150 h 811"/>
                <a:gd name="T58" fmla="*/ 602 w 630"/>
                <a:gd name="T59" fmla="*/ 365 h 811"/>
                <a:gd name="T60" fmla="*/ 615 w 630"/>
                <a:gd name="T61" fmla="*/ 371 h 811"/>
                <a:gd name="T62" fmla="*/ 628 w 630"/>
                <a:gd name="T63" fmla="*/ 365 h 811"/>
                <a:gd name="T64" fmla="*/ 630 w 630"/>
                <a:gd name="T65" fmla="*/ 133 h 811"/>
                <a:gd name="T66" fmla="*/ 621 w 630"/>
                <a:gd name="T67" fmla="*/ 121 h 811"/>
                <a:gd name="T68" fmla="*/ 479 w 630"/>
                <a:gd name="T69" fmla="*/ 72 h 811"/>
                <a:gd name="T70" fmla="*/ 471 w 630"/>
                <a:gd name="T71" fmla="*/ 61 h 811"/>
                <a:gd name="T72" fmla="*/ 400 w 630"/>
                <a:gd name="T73" fmla="*/ 41 h 811"/>
                <a:gd name="T74" fmla="*/ 380 w 630"/>
                <a:gd name="T75" fmla="*/ 17 h 811"/>
                <a:gd name="T76" fmla="*/ 340 w 630"/>
                <a:gd name="T77" fmla="*/ 1 h 811"/>
                <a:gd name="T78" fmla="*/ 284 w 630"/>
                <a:gd name="T79" fmla="*/ 3 h 811"/>
                <a:gd name="T80" fmla="*/ 249 w 630"/>
                <a:gd name="T81" fmla="*/ 22 h 811"/>
                <a:gd name="T82" fmla="*/ 231 w 630"/>
                <a:gd name="T83" fmla="*/ 52 h 811"/>
                <a:gd name="T84" fmla="*/ 156 w 630"/>
                <a:gd name="T85" fmla="*/ 63 h 811"/>
                <a:gd name="T86" fmla="*/ 150 w 630"/>
                <a:gd name="T87" fmla="*/ 75 h 811"/>
                <a:gd name="T88" fmla="*/ 6 w 630"/>
                <a:gd name="T89" fmla="*/ 123 h 811"/>
                <a:gd name="T90" fmla="*/ 0 w 630"/>
                <a:gd name="T91" fmla="*/ 135 h 811"/>
                <a:gd name="T92" fmla="*/ 4 w 630"/>
                <a:gd name="T93" fmla="*/ 770 h 811"/>
                <a:gd name="T94" fmla="*/ 23 w 630"/>
                <a:gd name="T95" fmla="*/ 797 h 811"/>
                <a:gd name="T96" fmla="*/ 56 w 630"/>
                <a:gd name="T97" fmla="*/ 810 h 811"/>
                <a:gd name="T98" fmla="*/ 380 w 630"/>
                <a:gd name="T99" fmla="*/ 810 h 811"/>
                <a:gd name="T100" fmla="*/ 389 w 630"/>
                <a:gd name="T101" fmla="*/ 800 h 811"/>
                <a:gd name="T102" fmla="*/ 385 w 630"/>
                <a:gd name="T103" fmla="*/ 786 h 8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630" h="811">
                  <a:moveTo>
                    <a:pt x="179" y="90"/>
                  </a:moveTo>
                  <a:lnTo>
                    <a:pt x="242" y="90"/>
                  </a:lnTo>
                  <a:lnTo>
                    <a:pt x="245" y="90"/>
                  </a:lnTo>
                  <a:lnTo>
                    <a:pt x="247" y="89"/>
                  </a:lnTo>
                  <a:lnTo>
                    <a:pt x="250" y="88"/>
                  </a:lnTo>
                  <a:lnTo>
                    <a:pt x="252" y="86"/>
                  </a:lnTo>
                  <a:lnTo>
                    <a:pt x="254" y="84"/>
                  </a:lnTo>
                  <a:lnTo>
                    <a:pt x="255" y="81"/>
                  </a:lnTo>
                  <a:lnTo>
                    <a:pt x="257" y="78"/>
                  </a:lnTo>
                  <a:lnTo>
                    <a:pt x="257" y="75"/>
                  </a:lnTo>
                  <a:lnTo>
                    <a:pt x="257" y="70"/>
                  </a:lnTo>
                  <a:lnTo>
                    <a:pt x="258" y="64"/>
                  </a:lnTo>
                  <a:lnTo>
                    <a:pt x="259" y="60"/>
                  </a:lnTo>
                  <a:lnTo>
                    <a:pt x="261" y="56"/>
                  </a:lnTo>
                  <a:lnTo>
                    <a:pt x="263" y="52"/>
                  </a:lnTo>
                  <a:lnTo>
                    <a:pt x="265" y="47"/>
                  </a:lnTo>
                  <a:lnTo>
                    <a:pt x="268" y="44"/>
                  </a:lnTo>
                  <a:lnTo>
                    <a:pt x="271" y="42"/>
                  </a:lnTo>
                  <a:lnTo>
                    <a:pt x="280" y="37"/>
                  </a:lnTo>
                  <a:lnTo>
                    <a:pt x="291" y="33"/>
                  </a:lnTo>
                  <a:lnTo>
                    <a:pt x="304" y="31"/>
                  </a:lnTo>
                  <a:lnTo>
                    <a:pt x="318" y="30"/>
                  </a:lnTo>
                  <a:lnTo>
                    <a:pt x="331" y="31"/>
                  </a:lnTo>
                  <a:lnTo>
                    <a:pt x="344" y="33"/>
                  </a:lnTo>
                  <a:lnTo>
                    <a:pt x="354" y="37"/>
                  </a:lnTo>
                  <a:lnTo>
                    <a:pt x="362" y="42"/>
                  </a:lnTo>
                  <a:lnTo>
                    <a:pt x="367" y="44"/>
                  </a:lnTo>
                  <a:lnTo>
                    <a:pt x="370" y="47"/>
                  </a:lnTo>
                  <a:lnTo>
                    <a:pt x="372" y="52"/>
                  </a:lnTo>
                  <a:lnTo>
                    <a:pt x="374" y="56"/>
                  </a:lnTo>
                  <a:lnTo>
                    <a:pt x="376" y="60"/>
                  </a:lnTo>
                  <a:lnTo>
                    <a:pt x="377" y="64"/>
                  </a:lnTo>
                  <a:lnTo>
                    <a:pt x="377" y="70"/>
                  </a:lnTo>
                  <a:lnTo>
                    <a:pt x="378" y="75"/>
                  </a:lnTo>
                  <a:lnTo>
                    <a:pt x="378" y="78"/>
                  </a:lnTo>
                  <a:lnTo>
                    <a:pt x="380" y="81"/>
                  </a:lnTo>
                  <a:lnTo>
                    <a:pt x="381" y="84"/>
                  </a:lnTo>
                  <a:lnTo>
                    <a:pt x="383" y="86"/>
                  </a:lnTo>
                  <a:lnTo>
                    <a:pt x="385" y="88"/>
                  </a:lnTo>
                  <a:lnTo>
                    <a:pt x="387" y="89"/>
                  </a:lnTo>
                  <a:lnTo>
                    <a:pt x="390" y="90"/>
                  </a:lnTo>
                  <a:lnTo>
                    <a:pt x="393" y="90"/>
                  </a:lnTo>
                  <a:lnTo>
                    <a:pt x="450" y="90"/>
                  </a:lnTo>
                  <a:lnTo>
                    <a:pt x="450" y="240"/>
                  </a:lnTo>
                  <a:lnTo>
                    <a:pt x="179" y="240"/>
                  </a:lnTo>
                  <a:lnTo>
                    <a:pt x="179" y="90"/>
                  </a:lnTo>
                  <a:close/>
                  <a:moveTo>
                    <a:pt x="374" y="781"/>
                  </a:moveTo>
                  <a:lnTo>
                    <a:pt x="75" y="781"/>
                  </a:lnTo>
                  <a:lnTo>
                    <a:pt x="63" y="780"/>
                  </a:lnTo>
                  <a:lnTo>
                    <a:pt x="53" y="779"/>
                  </a:lnTo>
                  <a:lnTo>
                    <a:pt x="46" y="776"/>
                  </a:lnTo>
                  <a:lnTo>
                    <a:pt x="39" y="772"/>
                  </a:lnTo>
                  <a:lnTo>
                    <a:pt x="35" y="765"/>
                  </a:lnTo>
                  <a:lnTo>
                    <a:pt x="32" y="758"/>
                  </a:lnTo>
                  <a:lnTo>
                    <a:pt x="30" y="748"/>
                  </a:lnTo>
                  <a:lnTo>
                    <a:pt x="30" y="736"/>
                  </a:lnTo>
                  <a:lnTo>
                    <a:pt x="30" y="150"/>
                  </a:lnTo>
                  <a:lnTo>
                    <a:pt x="150" y="150"/>
                  </a:lnTo>
                  <a:lnTo>
                    <a:pt x="150" y="180"/>
                  </a:lnTo>
                  <a:lnTo>
                    <a:pt x="75" y="180"/>
                  </a:lnTo>
                  <a:lnTo>
                    <a:pt x="71" y="181"/>
                  </a:lnTo>
                  <a:lnTo>
                    <a:pt x="68" y="182"/>
                  </a:lnTo>
                  <a:lnTo>
                    <a:pt x="66" y="183"/>
                  </a:lnTo>
                  <a:lnTo>
                    <a:pt x="64" y="185"/>
                  </a:lnTo>
                  <a:lnTo>
                    <a:pt x="62" y="187"/>
                  </a:lnTo>
                  <a:lnTo>
                    <a:pt x="61" y="190"/>
                  </a:lnTo>
                  <a:lnTo>
                    <a:pt x="60" y="193"/>
                  </a:lnTo>
                  <a:lnTo>
                    <a:pt x="60" y="195"/>
                  </a:lnTo>
                  <a:lnTo>
                    <a:pt x="60" y="736"/>
                  </a:lnTo>
                  <a:lnTo>
                    <a:pt x="60" y="740"/>
                  </a:lnTo>
                  <a:lnTo>
                    <a:pt x="61" y="742"/>
                  </a:lnTo>
                  <a:lnTo>
                    <a:pt x="62" y="745"/>
                  </a:lnTo>
                  <a:lnTo>
                    <a:pt x="64" y="747"/>
                  </a:lnTo>
                  <a:lnTo>
                    <a:pt x="66" y="748"/>
                  </a:lnTo>
                  <a:lnTo>
                    <a:pt x="68" y="750"/>
                  </a:lnTo>
                  <a:lnTo>
                    <a:pt x="71" y="750"/>
                  </a:lnTo>
                  <a:lnTo>
                    <a:pt x="75" y="751"/>
                  </a:lnTo>
                  <a:lnTo>
                    <a:pt x="355" y="751"/>
                  </a:lnTo>
                  <a:lnTo>
                    <a:pt x="358" y="750"/>
                  </a:lnTo>
                  <a:lnTo>
                    <a:pt x="361" y="750"/>
                  </a:lnTo>
                  <a:lnTo>
                    <a:pt x="364" y="748"/>
                  </a:lnTo>
                  <a:lnTo>
                    <a:pt x="366" y="747"/>
                  </a:lnTo>
                  <a:lnTo>
                    <a:pt x="368" y="745"/>
                  </a:lnTo>
                  <a:lnTo>
                    <a:pt x="369" y="742"/>
                  </a:lnTo>
                  <a:lnTo>
                    <a:pt x="370" y="740"/>
                  </a:lnTo>
                  <a:lnTo>
                    <a:pt x="370" y="736"/>
                  </a:lnTo>
                  <a:lnTo>
                    <a:pt x="370" y="733"/>
                  </a:lnTo>
                  <a:lnTo>
                    <a:pt x="369" y="730"/>
                  </a:lnTo>
                  <a:lnTo>
                    <a:pt x="368" y="728"/>
                  </a:lnTo>
                  <a:lnTo>
                    <a:pt x="366" y="726"/>
                  </a:lnTo>
                  <a:lnTo>
                    <a:pt x="364" y="724"/>
                  </a:lnTo>
                  <a:lnTo>
                    <a:pt x="361" y="723"/>
                  </a:lnTo>
                  <a:lnTo>
                    <a:pt x="358" y="721"/>
                  </a:lnTo>
                  <a:lnTo>
                    <a:pt x="355" y="721"/>
                  </a:lnTo>
                  <a:lnTo>
                    <a:pt x="90" y="721"/>
                  </a:lnTo>
                  <a:lnTo>
                    <a:pt x="90" y="210"/>
                  </a:lnTo>
                  <a:lnTo>
                    <a:pt x="150" y="210"/>
                  </a:lnTo>
                  <a:lnTo>
                    <a:pt x="150" y="256"/>
                  </a:lnTo>
                  <a:lnTo>
                    <a:pt x="150" y="259"/>
                  </a:lnTo>
                  <a:lnTo>
                    <a:pt x="151" y="261"/>
                  </a:lnTo>
                  <a:lnTo>
                    <a:pt x="152" y="264"/>
                  </a:lnTo>
                  <a:lnTo>
                    <a:pt x="154" y="267"/>
                  </a:lnTo>
                  <a:lnTo>
                    <a:pt x="156" y="268"/>
                  </a:lnTo>
                  <a:lnTo>
                    <a:pt x="159" y="270"/>
                  </a:lnTo>
                  <a:lnTo>
                    <a:pt x="161" y="270"/>
                  </a:lnTo>
                  <a:lnTo>
                    <a:pt x="164" y="271"/>
                  </a:lnTo>
                  <a:lnTo>
                    <a:pt x="465" y="271"/>
                  </a:lnTo>
                  <a:lnTo>
                    <a:pt x="468" y="270"/>
                  </a:lnTo>
                  <a:lnTo>
                    <a:pt x="471" y="270"/>
                  </a:lnTo>
                  <a:lnTo>
                    <a:pt x="474" y="268"/>
                  </a:lnTo>
                  <a:lnTo>
                    <a:pt x="476" y="267"/>
                  </a:lnTo>
                  <a:lnTo>
                    <a:pt x="477" y="264"/>
                  </a:lnTo>
                  <a:lnTo>
                    <a:pt x="479" y="261"/>
                  </a:lnTo>
                  <a:lnTo>
                    <a:pt x="479" y="259"/>
                  </a:lnTo>
                  <a:lnTo>
                    <a:pt x="480" y="256"/>
                  </a:lnTo>
                  <a:lnTo>
                    <a:pt x="480" y="210"/>
                  </a:lnTo>
                  <a:lnTo>
                    <a:pt x="540" y="210"/>
                  </a:lnTo>
                  <a:lnTo>
                    <a:pt x="540" y="361"/>
                  </a:lnTo>
                  <a:lnTo>
                    <a:pt x="540" y="364"/>
                  </a:lnTo>
                  <a:lnTo>
                    <a:pt x="541" y="366"/>
                  </a:lnTo>
                  <a:lnTo>
                    <a:pt x="542" y="369"/>
                  </a:lnTo>
                  <a:lnTo>
                    <a:pt x="544" y="371"/>
                  </a:lnTo>
                  <a:lnTo>
                    <a:pt x="546" y="374"/>
                  </a:lnTo>
                  <a:lnTo>
                    <a:pt x="549" y="375"/>
                  </a:lnTo>
                  <a:lnTo>
                    <a:pt x="552" y="376"/>
                  </a:lnTo>
                  <a:lnTo>
                    <a:pt x="555" y="376"/>
                  </a:lnTo>
                  <a:lnTo>
                    <a:pt x="558" y="376"/>
                  </a:lnTo>
                  <a:lnTo>
                    <a:pt x="560" y="375"/>
                  </a:lnTo>
                  <a:lnTo>
                    <a:pt x="564" y="374"/>
                  </a:lnTo>
                  <a:lnTo>
                    <a:pt x="566" y="371"/>
                  </a:lnTo>
                  <a:lnTo>
                    <a:pt x="568" y="369"/>
                  </a:lnTo>
                  <a:lnTo>
                    <a:pt x="569" y="367"/>
                  </a:lnTo>
                  <a:lnTo>
                    <a:pt x="570" y="364"/>
                  </a:lnTo>
                  <a:lnTo>
                    <a:pt x="570" y="361"/>
                  </a:lnTo>
                  <a:lnTo>
                    <a:pt x="570" y="195"/>
                  </a:lnTo>
                  <a:lnTo>
                    <a:pt x="570" y="193"/>
                  </a:lnTo>
                  <a:lnTo>
                    <a:pt x="569" y="190"/>
                  </a:lnTo>
                  <a:lnTo>
                    <a:pt x="568" y="187"/>
                  </a:lnTo>
                  <a:lnTo>
                    <a:pt x="566" y="185"/>
                  </a:lnTo>
                  <a:lnTo>
                    <a:pt x="564" y="183"/>
                  </a:lnTo>
                  <a:lnTo>
                    <a:pt x="560" y="182"/>
                  </a:lnTo>
                  <a:lnTo>
                    <a:pt x="558" y="181"/>
                  </a:lnTo>
                  <a:lnTo>
                    <a:pt x="555" y="180"/>
                  </a:lnTo>
                  <a:lnTo>
                    <a:pt x="480" y="180"/>
                  </a:lnTo>
                  <a:lnTo>
                    <a:pt x="480" y="150"/>
                  </a:lnTo>
                  <a:lnTo>
                    <a:pt x="600" y="150"/>
                  </a:lnTo>
                  <a:lnTo>
                    <a:pt x="600" y="357"/>
                  </a:lnTo>
                  <a:lnTo>
                    <a:pt x="600" y="360"/>
                  </a:lnTo>
                  <a:lnTo>
                    <a:pt x="601" y="362"/>
                  </a:lnTo>
                  <a:lnTo>
                    <a:pt x="602" y="365"/>
                  </a:lnTo>
                  <a:lnTo>
                    <a:pt x="604" y="367"/>
                  </a:lnTo>
                  <a:lnTo>
                    <a:pt x="606" y="368"/>
                  </a:lnTo>
                  <a:lnTo>
                    <a:pt x="610" y="370"/>
                  </a:lnTo>
                  <a:lnTo>
                    <a:pt x="612" y="370"/>
                  </a:lnTo>
                  <a:lnTo>
                    <a:pt x="615" y="371"/>
                  </a:lnTo>
                  <a:lnTo>
                    <a:pt x="618" y="370"/>
                  </a:lnTo>
                  <a:lnTo>
                    <a:pt x="621" y="370"/>
                  </a:lnTo>
                  <a:lnTo>
                    <a:pt x="624" y="368"/>
                  </a:lnTo>
                  <a:lnTo>
                    <a:pt x="626" y="367"/>
                  </a:lnTo>
                  <a:lnTo>
                    <a:pt x="628" y="365"/>
                  </a:lnTo>
                  <a:lnTo>
                    <a:pt x="629" y="362"/>
                  </a:lnTo>
                  <a:lnTo>
                    <a:pt x="630" y="360"/>
                  </a:lnTo>
                  <a:lnTo>
                    <a:pt x="630" y="357"/>
                  </a:lnTo>
                  <a:lnTo>
                    <a:pt x="630" y="135"/>
                  </a:lnTo>
                  <a:lnTo>
                    <a:pt x="630" y="133"/>
                  </a:lnTo>
                  <a:lnTo>
                    <a:pt x="629" y="130"/>
                  </a:lnTo>
                  <a:lnTo>
                    <a:pt x="628" y="127"/>
                  </a:lnTo>
                  <a:lnTo>
                    <a:pt x="626" y="125"/>
                  </a:lnTo>
                  <a:lnTo>
                    <a:pt x="624" y="123"/>
                  </a:lnTo>
                  <a:lnTo>
                    <a:pt x="621" y="121"/>
                  </a:lnTo>
                  <a:lnTo>
                    <a:pt x="618" y="121"/>
                  </a:lnTo>
                  <a:lnTo>
                    <a:pt x="615" y="120"/>
                  </a:lnTo>
                  <a:lnTo>
                    <a:pt x="480" y="120"/>
                  </a:lnTo>
                  <a:lnTo>
                    <a:pt x="480" y="75"/>
                  </a:lnTo>
                  <a:lnTo>
                    <a:pt x="479" y="72"/>
                  </a:lnTo>
                  <a:lnTo>
                    <a:pt x="479" y="70"/>
                  </a:lnTo>
                  <a:lnTo>
                    <a:pt x="477" y="68"/>
                  </a:lnTo>
                  <a:lnTo>
                    <a:pt x="476" y="64"/>
                  </a:lnTo>
                  <a:lnTo>
                    <a:pt x="474" y="63"/>
                  </a:lnTo>
                  <a:lnTo>
                    <a:pt x="471" y="61"/>
                  </a:lnTo>
                  <a:lnTo>
                    <a:pt x="468" y="60"/>
                  </a:lnTo>
                  <a:lnTo>
                    <a:pt x="465" y="60"/>
                  </a:lnTo>
                  <a:lnTo>
                    <a:pt x="406" y="60"/>
                  </a:lnTo>
                  <a:lnTo>
                    <a:pt x="404" y="52"/>
                  </a:lnTo>
                  <a:lnTo>
                    <a:pt x="400" y="41"/>
                  </a:lnTo>
                  <a:lnTo>
                    <a:pt x="398" y="37"/>
                  </a:lnTo>
                  <a:lnTo>
                    <a:pt x="393" y="31"/>
                  </a:lnTo>
                  <a:lnTo>
                    <a:pt x="390" y="26"/>
                  </a:lnTo>
                  <a:lnTo>
                    <a:pt x="385" y="22"/>
                  </a:lnTo>
                  <a:lnTo>
                    <a:pt x="380" y="17"/>
                  </a:lnTo>
                  <a:lnTo>
                    <a:pt x="374" y="13"/>
                  </a:lnTo>
                  <a:lnTo>
                    <a:pt x="367" y="10"/>
                  </a:lnTo>
                  <a:lnTo>
                    <a:pt x="359" y="7"/>
                  </a:lnTo>
                  <a:lnTo>
                    <a:pt x="350" y="3"/>
                  </a:lnTo>
                  <a:lnTo>
                    <a:pt x="340" y="1"/>
                  </a:lnTo>
                  <a:lnTo>
                    <a:pt x="329" y="0"/>
                  </a:lnTo>
                  <a:lnTo>
                    <a:pt x="318" y="0"/>
                  </a:lnTo>
                  <a:lnTo>
                    <a:pt x="306" y="0"/>
                  </a:lnTo>
                  <a:lnTo>
                    <a:pt x="294" y="1"/>
                  </a:lnTo>
                  <a:lnTo>
                    <a:pt x="284" y="3"/>
                  </a:lnTo>
                  <a:lnTo>
                    <a:pt x="276" y="7"/>
                  </a:lnTo>
                  <a:lnTo>
                    <a:pt x="268" y="10"/>
                  </a:lnTo>
                  <a:lnTo>
                    <a:pt x="261" y="13"/>
                  </a:lnTo>
                  <a:lnTo>
                    <a:pt x="254" y="17"/>
                  </a:lnTo>
                  <a:lnTo>
                    <a:pt x="249" y="22"/>
                  </a:lnTo>
                  <a:lnTo>
                    <a:pt x="245" y="26"/>
                  </a:lnTo>
                  <a:lnTo>
                    <a:pt x="240" y="31"/>
                  </a:lnTo>
                  <a:lnTo>
                    <a:pt x="237" y="37"/>
                  </a:lnTo>
                  <a:lnTo>
                    <a:pt x="234" y="41"/>
                  </a:lnTo>
                  <a:lnTo>
                    <a:pt x="231" y="52"/>
                  </a:lnTo>
                  <a:lnTo>
                    <a:pt x="228" y="60"/>
                  </a:lnTo>
                  <a:lnTo>
                    <a:pt x="164" y="60"/>
                  </a:lnTo>
                  <a:lnTo>
                    <a:pt x="161" y="60"/>
                  </a:lnTo>
                  <a:lnTo>
                    <a:pt x="159" y="61"/>
                  </a:lnTo>
                  <a:lnTo>
                    <a:pt x="156" y="63"/>
                  </a:lnTo>
                  <a:lnTo>
                    <a:pt x="154" y="64"/>
                  </a:lnTo>
                  <a:lnTo>
                    <a:pt x="152" y="68"/>
                  </a:lnTo>
                  <a:lnTo>
                    <a:pt x="151" y="70"/>
                  </a:lnTo>
                  <a:lnTo>
                    <a:pt x="150" y="72"/>
                  </a:lnTo>
                  <a:lnTo>
                    <a:pt x="150" y="75"/>
                  </a:lnTo>
                  <a:lnTo>
                    <a:pt x="150" y="120"/>
                  </a:lnTo>
                  <a:lnTo>
                    <a:pt x="15" y="120"/>
                  </a:lnTo>
                  <a:lnTo>
                    <a:pt x="11" y="121"/>
                  </a:lnTo>
                  <a:lnTo>
                    <a:pt x="8" y="121"/>
                  </a:lnTo>
                  <a:lnTo>
                    <a:pt x="6" y="123"/>
                  </a:lnTo>
                  <a:lnTo>
                    <a:pt x="4" y="125"/>
                  </a:lnTo>
                  <a:lnTo>
                    <a:pt x="2" y="127"/>
                  </a:lnTo>
                  <a:lnTo>
                    <a:pt x="1" y="130"/>
                  </a:lnTo>
                  <a:lnTo>
                    <a:pt x="0" y="133"/>
                  </a:lnTo>
                  <a:lnTo>
                    <a:pt x="0" y="135"/>
                  </a:lnTo>
                  <a:lnTo>
                    <a:pt x="0" y="736"/>
                  </a:lnTo>
                  <a:lnTo>
                    <a:pt x="0" y="745"/>
                  </a:lnTo>
                  <a:lnTo>
                    <a:pt x="1" y="754"/>
                  </a:lnTo>
                  <a:lnTo>
                    <a:pt x="2" y="762"/>
                  </a:lnTo>
                  <a:lnTo>
                    <a:pt x="4" y="770"/>
                  </a:lnTo>
                  <a:lnTo>
                    <a:pt x="7" y="776"/>
                  </a:lnTo>
                  <a:lnTo>
                    <a:pt x="10" y="782"/>
                  </a:lnTo>
                  <a:lnTo>
                    <a:pt x="14" y="788"/>
                  </a:lnTo>
                  <a:lnTo>
                    <a:pt x="18" y="793"/>
                  </a:lnTo>
                  <a:lnTo>
                    <a:pt x="23" y="797"/>
                  </a:lnTo>
                  <a:lnTo>
                    <a:pt x="29" y="801"/>
                  </a:lnTo>
                  <a:lnTo>
                    <a:pt x="35" y="804"/>
                  </a:lnTo>
                  <a:lnTo>
                    <a:pt x="41" y="807"/>
                  </a:lnTo>
                  <a:lnTo>
                    <a:pt x="49" y="808"/>
                  </a:lnTo>
                  <a:lnTo>
                    <a:pt x="56" y="810"/>
                  </a:lnTo>
                  <a:lnTo>
                    <a:pt x="65" y="811"/>
                  </a:lnTo>
                  <a:lnTo>
                    <a:pt x="75" y="811"/>
                  </a:lnTo>
                  <a:lnTo>
                    <a:pt x="374" y="811"/>
                  </a:lnTo>
                  <a:lnTo>
                    <a:pt x="377" y="811"/>
                  </a:lnTo>
                  <a:lnTo>
                    <a:pt x="380" y="810"/>
                  </a:lnTo>
                  <a:lnTo>
                    <a:pt x="383" y="809"/>
                  </a:lnTo>
                  <a:lnTo>
                    <a:pt x="385" y="807"/>
                  </a:lnTo>
                  <a:lnTo>
                    <a:pt x="387" y="805"/>
                  </a:lnTo>
                  <a:lnTo>
                    <a:pt x="388" y="803"/>
                  </a:lnTo>
                  <a:lnTo>
                    <a:pt x="389" y="800"/>
                  </a:lnTo>
                  <a:lnTo>
                    <a:pt x="389" y="796"/>
                  </a:lnTo>
                  <a:lnTo>
                    <a:pt x="389" y="793"/>
                  </a:lnTo>
                  <a:lnTo>
                    <a:pt x="388" y="791"/>
                  </a:lnTo>
                  <a:lnTo>
                    <a:pt x="387" y="788"/>
                  </a:lnTo>
                  <a:lnTo>
                    <a:pt x="385" y="786"/>
                  </a:lnTo>
                  <a:lnTo>
                    <a:pt x="383" y="784"/>
                  </a:lnTo>
                  <a:lnTo>
                    <a:pt x="380" y="782"/>
                  </a:lnTo>
                  <a:lnTo>
                    <a:pt x="377" y="781"/>
                  </a:lnTo>
                  <a:lnTo>
                    <a:pt x="374" y="78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350">
              <a:extLst>
                <a:ext uri="{FF2B5EF4-FFF2-40B4-BE49-F238E27FC236}">
                  <a16:creationId xmlns:a16="http://schemas.microsoft.com/office/drawing/2014/main" id="{BC360C8C-685C-4914-B1EE-0C3CAB39E797}"/>
                </a:ext>
              </a:extLst>
            </p:cNvPr>
            <p:cNvSpPr>
              <a:spLocks/>
            </p:cNvSpPr>
            <p:nvPr/>
          </p:nvSpPr>
          <p:spPr bwMode="auto">
            <a:xfrm>
              <a:off x="8228013" y="2609850"/>
              <a:ext cx="69850" cy="9525"/>
            </a:xfrm>
            <a:custGeom>
              <a:avLst/>
              <a:gdLst>
                <a:gd name="T0" fmla="*/ 204 w 219"/>
                <a:gd name="T1" fmla="*/ 0 h 30"/>
                <a:gd name="T2" fmla="*/ 15 w 219"/>
                <a:gd name="T3" fmla="*/ 0 h 30"/>
                <a:gd name="T4" fmla="*/ 12 w 219"/>
                <a:gd name="T5" fmla="*/ 0 h 30"/>
                <a:gd name="T6" fmla="*/ 9 w 219"/>
                <a:gd name="T7" fmla="*/ 1 h 30"/>
                <a:gd name="T8" fmla="*/ 7 w 219"/>
                <a:gd name="T9" fmla="*/ 2 h 30"/>
                <a:gd name="T10" fmla="*/ 4 w 219"/>
                <a:gd name="T11" fmla="*/ 4 h 30"/>
                <a:gd name="T12" fmla="*/ 2 w 219"/>
                <a:gd name="T13" fmla="*/ 6 h 30"/>
                <a:gd name="T14" fmla="*/ 1 w 219"/>
                <a:gd name="T15" fmla="*/ 9 h 30"/>
                <a:gd name="T16" fmla="*/ 0 w 219"/>
                <a:gd name="T17" fmla="*/ 12 h 30"/>
                <a:gd name="T18" fmla="*/ 0 w 219"/>
                <a:gd name="T19" fmla="*/ 15 h 30"/>
                <a:gd name="T20" fmla="*/ 0 w 219"/>
                <a:gd name="T21" fmla="*/ 18 h 30"/>
                <a:gd name="T22" fmla="*/ 1 w 219"/>
                <a:gd name="T23" fmla="*/ 20 h 30"/>
                <a:gd name="T24" fmla="*/ 2 w 219"/>
                <a:gd name="T25" fmla="*/ 23 h 30"/>
                <a:gd name="T26" fmla="*/ 4 w 219"/>
                <a:gd name="T27" fmla="*/ 26 h 30"/>
                <a:gd name="T28" fmla="*/ 7 w 219"/>
                <a:gd name="T29" fmla="*/ 28 h 30"/>
                <a:gd name="T30" fmla="*/ 9 w 219"/>
                <a:gd name="T31" fmla="*/ 29 h 30"/>
                <a:gd name="T32" fmla="*/ 12 w 219"/>
                <a:gd name="T33" fmla="*/ 30 h 30"/>
                <a:gd name="T34" fmla="*/ 15 w 219"/>
                <a:gd name="T35" fmla="*/ 30 h 30"/>
                <a:gd name="T36" fmla="*/ 204 w 219"/>
                <a:gd name="T37" fmla="*/ 30 h 30"/>
                <a:gd name="T38" fmla="*/ 207 w 219"/>
                <a:gd name="T39" fmla="*/ 29 h 30"/>
                <a:gd name="T40" fmla="*/ 210 w 219"/>
                <a:gd name="T41" fmla="*/ 29 h 30"/>
                <a:gd name="T42" fmla="*/ 212 w 219"/>
                <a:gd name="T43" fmla="*/ 28 h 30"/>
                <a:gd name="T44" fmla="*/ 214 w 219"/>
                <a:gd name="T45" fmla="*/ 26 h 30"/>
                <a:gd name="T46" fmla="*/ 216 w 219"/>
                <a:gd name="T47" fmla="*/ 23 h 30"/>
                <a:gd name="T48" fmla="*/ 218 w 219"/>
                <a:gd name="T49" fmla="*/ 20 h 30"/>
                <a:gd name="T50" fmla="*/ 218 w 219"/>
                <a:gd name="T51" fmla="*/ 18 h 30"/>
                <a:gd name="T52" fmla="*/ 219 w 219"/>
                <a:gd name="T53" fmla="*/ 15 h 30"/>
                <a:gd name="T54" fmla="*/ 218 w 219"/>
                <a:gd name="T55" fmla="*/ 12 h 30"/>
                <a:gd name="T56" fmla="*/ 218 w 219"/>
                <a:gd name="T57" fmla="*/ 9 h 30"/>
                <a:gd name="T58" fmla="*/ 216 w 219"/>
                <a:gd name="T59" fmla="*/ 6 h 30"/>
                <a:gd name="T60" fmla="*/ 214 w 219"/>
                <a:gd name="T61" fmla="*/ 4 h 30"/>
                <a:gd name="T62" fmla="*/ 212 w 219"/>
                <a:gd name="T63" fmla="*/ 2 h 30"/>
                <a:gd name="T64" fmla="*/ 210 w 219"/>
                <a:gd name="T65" fmla="*/ 1 h 30"/>
                <a:gd name="T66" fmla="*/ 207 w 219"/>
                <a:gd name="T67" fmla="*/ 0 h 30"/>
                <a:gd name="T68" fmla="*/ 204 w 219"/>
                <a:gd name="T6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19" h="30">
                  <a:moveTo>
                    <a:pt x="204" y="0"/>
                  </a:moveTo>
                  <a:lnTo>
                    <a:pt x="15" y="0"/>
                  </a:lnTo>
                  <a:lnTo>
                    <a:pt x="12" y="0"/>
                  </a:lnTo>
                  <a:lnTo>
                    <a:pt x="9" y="1"/>
                  </a:lnTo>
                  <a:lnTo>
                    <a:pt x="7" y="2"/>
                  </a:lnTo>
                  <a:lnTo>
                    <a:pt x="4" y="4"/>
                  </a:lnTo>
                  <a:lnTo>
                    <a:pt x="2" y="6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1" y="20"/>
                  </a:lnTo>
                  <a:lnTo>
                    <a:pt x="2" y="23"/>
                  </a:lnTo>
                  <a:lnTo>
                    <a:pt x="4" y="26"/>
                  </a:lnTo>
                  <a:lnTo>
                    <a:pt x="7" y="28"/>
                  </a:lnTo>
                  <a:lnTo>
                    <a:pt x="9" y="29"/>
                  </a:lnTo>
                  <a:lnTo>
                    <a:pt x="12" y="30"/>
                  </a:lnTo>
                  <a:lnTo>
                    <a:pt x="15" y="30"/>
                  </a:lnTo>
                  <a:lnTo>
                    <a:pt x="204" y="30"/>
                  </a:lnTo>
                  <a:lnTo>
                    <a:pt x="207" y="29"/>
                  </a:lnTo>
                  <a:lnTo>
                    <a:pt x="210" y="29"/>
                  </a:lnTo>
                  <a:lnTo>
                    <a:pt x="212" y="28"/>
                  </a:lnTo>
                  <a:lnTo>
                    <a:pt x="214" y="26"/>
                  </a:lnTo>
                  <a:lnTo>
                    <a:pt x="216" y="23"/>
                  </a:lnTo>
                  <a:lnTo>
                    <a:pt x="218" y="20"/>
                  </a:lnTo>
                  <a:lnTo>
                    <a:pt x="218" y="18"/>
                  </a:lnTo>
                  <a:lnTo>
                    <a:pt x="219" y="15"/>
                  </a:lnTo>
                  <a:lnTo>
                    <a:pt x="218" y="12"/>
                  </a:lnTo>
                  <a:lnTo>
                    <a:pt x="218" y="9"/>
                  </a:lnTo>
                  <a:lnTo>
                    <a:pt x="216" y="6"/>
                  </a:lnTo>
                  <a:lnTo>
                    <a:pt x="214" y="4"/>
                  </a:lnTo>
                  <a:lnTo>
                    <a:pt x="212" y="2"/>
                  </a:lnTo>
                  <a:lnTo>
                    <a:pt x="210" y="1"/>
                  </a:lnTo>
                  <a:lnTo>
                    <a:pt x="207" y="0"/>
                  </a:lnTo>
                  <a:lnTo>
                    <a:pt x="20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351">
              <a:extLst>
                <a:ext uri="{FF2B5EF4-FFF2-40B4-BE49-F238E27FC236}">
                  <a16:creationId xmlns:a16="http://schemas.microsoft.com/office/drawing/2014/main" id="{BA80A96B-BB86-4559-9212-E2CDFA5CA239}"/>
                </a:ext>
              </a:extLst>
            </p:cNvPr>
            <p:cNvSpPr>
              <a:spLocks/>
            </p:cNvSpPr>
            <p:nvPr/>
          </p:nvSpPr>
          <p:spPr bwMode="auto">
            <a:xfrm>
              <a:off x="8228013" y="2638425"/>
              <a:ext cx="69850" cy="9525"/>
            </a:xfrm>
            <a:custGeom>
              <a:avLst/>
              <a:gdLst>
                <a:gd name="T0" fmla="*/ 204 w 219"/>
                <a:gd name="T1" fmla="*/ 0 h 30"/>
                <a:gd name="T2" fmla="*/ 15 w 219"/>
                <a:gd name="T3" fmla="*/ 0 h 30"/>
                <a:gd name="T4" fmla="*/ 12 w 219"/>
                <a:gd name="T5" fmla="*/ 0 h 30"/>
                <a:gd name="T6" fmla="*/ 9 w 219"/>
                <a:gd name="T7" fmla="*/ 1 h 30"/>
                <a:gd name="T8" fmla="*/ 7 w 219"/>
                <a:gd name="T9" fmla="*/ 2 h 30"/>
                <a:gd name="T10" fmla="*/ 4 w 219"/>
                <a:gd name="T11" fmla="*/ 4 h 30"/>
                <a:gd name="T12" fmla="*/ 2 w 219"/>
                <a:gd name="T13" fmla="*/ 6 h 30"/>
                <a:gd name="T14" fmla="*/ 1 w 219"/>
                <a:gd name="T15" fmla="*/ 9 h 30"/>
                <a:gd name="T16" fmla="*/ 0 w 219"/>
                <a:gd name="T17" fmla="*/ 11 h 30"/>
                <a:gd name="T18" fmla="*/ 0 w 219"/>
                <a:gd name="T19" fmla="*/ 15 h 30"/>
                <a:gd name="T20" fmla="*/ 0 w 219"/>
                <a:gd name="T21" fmla="*/ 18 h 30"/>
                <a:gd name="T22" fmla="*/ 1 w 219"/>
                <a:gd name="T23" fmla="*/ 21 h 30"/>
                <a:gd name="T24" fmla="*/ 2 w 219"/>
                <a:gd name="T25" fmla="*/ 23 h 30"/>
                <a:gd name="T26" fmla="*/ 4 w 219"/>
                <a:gd name="T27" fmla="*/ 25 h 30"/>
                <a:gd name="T28" fmla="*/ 7 w 219"/>
                <a:gd name="T29" fmla="*/ 28 h 30"/>
                <a:gd name="T30" fmla="*/ 9 w 219"/>
                <a:gd name="T31" fmla="*/ 29 h 30"/>
                <a:gd name="T32" fmla="*/ 12 w 219"/>
                <a:gd name="T33" fmla="*/ 30 h 30"/>
                <a:gd name="T34" fmla="*/ 15 w 219"/>
                <a:gd name="T35" fmla="*/ 30 h 30"/>
                <a:gd name="T36" fmla="*/ 204 w 219"/>
                <a:gd name="T37" fmla="*/ 30 h 30"/>
                <a:gd name="T38" fmla="*/ 207 w 219"/>
                <a:gd name="T39" fmla="*/ 30 h 30"/>
                <a:gd name="T40" fmla="*/ 210 w 219"/>
                <a:gd name="T41" fmla="*/ 29 h 30"/>
                <a:gd name="T42" fmla="*/ 212 w 219"/>
                <a:gd name="T43" fmla="*/ 28 h 30"/>
                <a:gd name="T44" fmla="*/ 214 w 219"/>
                <a:gd name="T45" fmla="*/ 25 h 30"/>
                <a:gd name="T46" fmla="*/ 216 w 219"/>
                <a:gd name="T47" fmla="*/ 23 h 30"/>
                <a:gd name="T48" fmla="*/ 218 w 219"/>
                <a:gd name="T49" fmla="*/ 21 h 30"/>
                <a:gd name="T50" fmla="*/ 218 w 219"/>
                <a:gd name="T51" fmla="*/ 18 h 30"/>
                <a:gd name="T52" fmla="*/ 219 w 219"/>
                <a:gd name="T53" fmla="*/ 15 h 30"/>
                <a:gd name="T54" fmla="*/ 218 w 219"/>
                <a:gd name="T55" fmla="*/ 11 h 30"/>
                <a:gd name="T56" fmla="*/ 218 w 219"/>
                <a:gd name="T57" fmla="*/ 9 h 30"/>
                <a:gd name="T58" fmla="*/ 216 w 219"/>
                <a:gd name="T59" fmla="*/ 6 h 30"/>
                <a:gd name="T60" fmla="*/ 214 w 219"/>
                <a:gd name="T61" fmla="*/ 4 h 30"/>
                <a:gd name="T62" fmla="*/ 212 w 219"/>
                <a:gd name="T63" fmla="*/ 2 h 30"/>
                <a:gd name="T64" fmla="*/ 210 w 219"/>
                <a:gd name="T65" fmla="*/ 1 h 30"/>
                <a:gd name="T66" fmla="*/ 207 w 219"/>
                <a:gd name="T67" fmla="*/ 0 h 30"/>
                <a:gd name="T68" fmla="*/ 204 w 219"/>
                <a:gd name="T6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19" h="30">
                  <a:moveTo>
                    <a:pt x="204" y="0"/>
                  </a:moveTo>
                  <a:lnTo>
                    <a:pt x="15" y="0"/>
                  </a:lnTo>
                  <a:lnTo>
                    <a:pt x="12" y="0"/>
                  </a:lnTo>
                  <a:lnTo>
                    <a:pt x="9" y="1"/>
                  </a:lnTo>
                  <a:lnTo>
                    <a:pt x="7" y="2"/>
                  </a:lnTo>
                  <a:lnTo>
                    <a:pt x="4" y="4"/>
                  </a:lnTo>
                  <a:lnTo>
                    <a:pt x="2" y="6"/>
                  </a:lnTo>
                  <a:lnTo>
                    <a:pt x="1" y="9"/>
                  </a:lnTo>
                  <a:lnTo>
                    <a:pt x="0" y="11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1" y="21"/>
                  </a:lnTo>
                  <a:lnTo>
                    <a:pt x="2" y="23"/>
                  </a:lnTo>
                  <a:lnTo>
                    <a:pt x="4" y="25"/>
                  </a:lnTo>
                  <a:lnTo>
                    <a:pt x="7" y="28"/>
                  </a:lnTo>
                  <a:lnTo>
                    <a:pt x="9" y="29"/>
                  </a:lnTo>
                  <a:lnTo>
                    <a:pt x="12" y="30"/>
                  </a:lnTo>
                  <a:lnTo>
                    <a:pt x="15" y="30"/>
                  </a:lnTo>
                  <a:lnTo>
                    <a:pt x="204" y="30"/>
                  </a:lnTo>
                  <a:lnTo>
                    <a:pt x="207" y="30"/>
                  </a:lnTo>
                  <a:lnTo>
                    <a:pt x="210" y="29"/>
                  </a:lnTo>
                  <a:lnTo>
                    <a:pt x="212" y="28"/>
                  </a:lnTo>
                  <a:lnTo>
                    <a:pt x="214" y="25"/>
                  </a:lnTo>
                  <a:lnTo>
                    <a:pt x="216" y="23"/>
                  </a:lnTo>
                  <a:lnTo>
                    <a:pt x="218" y="21"/>
                  </a:lnTo>
                  <a:lnTo>
                    <a:pt x="218" y="18"/>
                  </a:lnTo>
                  <a:lnTo>
                    <a:pt x="219" y="15"/>
                  </a:lnTo>
                  <a:lnTo>
                    <a:pt x="218" y="11"/>
                  </a:lnTo>
                  <a:lnTo>
                    <a:pt x="218" y="9"/>
                  </a:lnTo>
                  <a:lnTo>
                    <a:pt x="216" y="6"/>
                  </a:lnTo>
                  <a:lnTo>
                    <a:pt x="214" y="4"/>
                  </a:lnTo>
                  <a:lnTo>
                    <a:pt x="212" y="2"/>
                  </a:lnTo>
                  <a:lnTo>
                    <a:pt x="210" y="1"/>
                  </a:lnTo>
                  <a:lnTo>
                    <a:pt x="207" y="0"/>
                  </a:lnTo>
                  <a:lnTo>
                    <a:pt x="20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352">
              <a:extLst>
                <a:ext uri="{FF2B5EF4-FFF2-40B4-BE49-F238E27FC236}">
                  <a16:creationId xmlns:a16="http://schemas.microsoft.com/office/drawing/2014/main" id="{3E23AAC5-48B7-4600-A249-CEF6F22F79FE}"/>
                </a:ext>
              </a:extLst>
            </p:cNvPr>
            <p:cNvSpPr>
              <a:spLocks/>
            </p:cNvSpPr>
            <p:nvPr/>
          </p:nvSpPr>
          <p:spPr bwMode="auto">
            <a:xfrm>
              <a:off x="8228013" y="2667000"/>
              <a:ext cx="69850" cy="9525"/>
            </a:xfrm>
            <a:custGeom>
              <a:avLst/>
              <a:gdLst>
                <a:gd name="T0" fmla="*/ 204 w 219"/>
                <a:gd name="T1" fmla="*/ 0 h 30"/>
                <a:gd name="T2" fmla="*/ 15 w 219"/>
                <a:gd name="T3" fmla="*/ 0 h 30"/>
                <a:gd name="T4" fmla="*/ 12 w 219"/>
                <a:gd name="T5" fmla="*/ 0 h 30"/>
                <a:gd name="T6" fmla="*/ 9 w 219"/>
                <a:gd name="T7" fmla="*/ 1 h 30"/>
                <a:gd name="T8" fmla="*/ 7 w 219"/>
                <a:gd name="T9" fmla="*/ 3 h 30"/>
                <a:gd name="T10" fmla="*/ 4 w 219"/>
                <a:gd name="T11" fmla="*/ 4 h 30"/>
                <a:gd name="T12" fmla="*/ 2 w 219"/>
                <a:gd name="T13" fmla="*/ 7 h 30"/>
                <a:gd name="T14" fmla="*/ 1 w 219"/>
                <a:gd name="T15" fmla="*/ 9 h 30"/>
                <a:gd name="T16" fmla="*/ 0 w 219"/>
                <a:gd name="T17" fmla="*/ 12 h 30"/>
                <a:gd name="T18" fmla="*/ 0 w 219"/>
                <a:gd name="T19" fmla="*/ 15 h 30"/>
                <a:gd name="T20" fmla="*/ 0 w 219"/>
                <a:gd name="T21" fmla="*/ 18 h 30"/>
                <a:gd name="T22" fmla="*/ 1 w 219"/>
                <a:gd name="T23" fmla="*/ 21 h 30"/>
                <a:gd name="T24" fmla="*/ 2 w 219"/>
                <a:gd name="T25" fmla="*/ 23 h 30"/>
                <a:gd name="T26" fmla="*/ 4 w 219"/>
                <a:gd name="T27" fmla="*/ 25 h 30"/>
                <a:gd name="T28" fmla="*/ 7 w 219"/>
                <a:gd name="T29" fmla="*/ 27 h 30"/>
                <a:gd name="T30" fmla="*/ 9 w 219"/>
                <a:gd name="T31" fmla="*/ 29 h 30"/>
                <a:gd name="T32" fmla="*/ 12 w 219"/>
                <a:gd name="T33" fmla="*/ 30 h 30"/>
                <a:gd name="T34" fmla="*/ 15 w 219"/>
                <a:gd name="T35" fmla="*/ 30 h 30"/>
                <a:gd name="T36" fmla="*/ 204 w 219"/>
                <a:gd name="T37" fmla="*/ 30 h 30"/>
                <a:gd name="T38" fmla="*/ 207 w 219"/>
                <a:gd name="T39" fmla="*/ 30 h 30"/>
                <a:gd name="T40" fmla="*/ 210 w 219"/>
                <a:gd name="T41" fmla="*/ 29 h 30"/>
                <a:gd name="T42" fmla="*/ 212 w 219"/>
                <a:gd name="T43" fmla="*/ 27 h 30"/>
                <a:gd name="T44" fmla="*/ 214 w 219"/>
                <a:gd name="T45" fmla="*/ 25 h 30"/>
                <a:gd name="T46" fmla="*/ 216 w 219"/>
                <a:gd name="T47" fmla="*/ 23 h 30"/>
                <a:gd name="T48" fmla="*/ 218 w 219"/>
                <a:gd name="T49" fmla="*/ 21 h 30"/>
                <a:gd name="T50" fmla="*/ 218 w 219"/>
                <a:gd name="T51" fmla="*/ 18 h 30"/>
                <a:gd name="T52" fmla="*/ 219 w 219"/>
                <a:gd name="T53" fmla="*/ 15 h 30"/>
                <a:gd name="T54" fmla="*/ 218 w 219"/>
                <a:gd name="T55" fmla="*/ 12 h 30"/>
                <a:gd name="T56" fmla="*/ 218 w 219"/>
                <a:gd name="T57" fmla="*/ 9 h 30"/>
                <a:gd name="T58" fmla="*/ 216 w 219"/>
                <a:gd name="T59" fmla="*/ 7 h 30"/>
                <a:gd name="T60" fmla="*/ 214 w 219"/>
                <a:gd name="T61" fmla="*/ 4 h 30"/>
                <a:gd name="T62" fmla="*/ 212 w 219"/>
                <a:gd name="T63" fmla="*/ 3 h 30"/>
                <a:gd name="T64" fmla="*/ 210 w 219"/>
                <a:gd name="T65" fmla="*/ 1 h 30"/>
                <a:gd name="T66" fmla="*/ 207 w 219"/>
                <a:gd name="T67" fmla="*/ 0 h 30"/>
                <a:gd name="T68" fmla="*/ 204 w 219"/>
                <a:gd name="T6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19" h="30">
                  <a:moveTo>
                    <a:pt x="204" y="0"/>
                  </a:moveTo>
                  <a:lnTo>
                    <a:pt x="15" y="0"/>
                  </a:lnTo>
                  <a:lnTo>
                    <a:pt x="12" y="0"/>
                  </a:lnTo>
                  <a:lnTo>
                    <a:pt x="9" y="1"/>
                  </a:lnTo>
                  <a:lnTo>
                    <a:pt x="7" y="3"/>
                  </a:lnTo>
                  <a:lnTo>
                    <a:pt x="4" y="4"/>
                  </a:lnTo>
                  <a:lnTo>
                    <a:pt x="2" y="7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1" y="21"/>
                  </a:lnTo>
                  <a:lnTo>
                    <a:pt x="2" y="23"/>
                  </a:lnTo>
                  <a:lnTo>
                    <a:pt x="4" y="25"/>
                  </a:lnTo>
                  <a:lnTo>
                    <a:pt x="7" y="27"/>
                  </a:lnTo>
                  <a:lnTo>
                    <a:pt x="9" y="29"/>
                  </a:lnTo>
                  <a:lnTo>
                    <a:pt x="12" y="30"/>
                  </a:lnTo>
                  <a:lnTo>
                    <a:pt x="15" y="30"/>
                  </a:lnTo>
                  <a:lnTo>
                    <a:pt x="204" y="30"/>
                  </a:lnTo>
                  <a:lnTo>
                    <a:pt x="207" y="30"/>
                  </a:lnTo>
                  <a:lnTo>
                    <a:pt x="210" y="29"/>
                  </a:lnTo>
                  <a:lnTo>
                    <a:pt x="212" y="27"/>
                  </a:lnTo>
                  <a:lnTo>
                    <a:pt x="214" y="25"/>
                  </a:lnTo>
                  <a:lnTo>
                    <a:pt x="216" y="23"/>
                  </a:lnTo>
                  <a:lnTo>
                    <a:pt x="218" y="21"/>
                  </a:lnTo>
                  <a:lnTo>
                    <a:pt x="218" y="18"/>
                  </a:lnTo>
                  <a:lnTo>
                    <a:pt x="219" y="15"/>
                  </a:lnTo>
                  <a:lnTo>
                    <a:pt x="218" y="12"/>
                  </a:lnTo>
                  <a:lnTo>
                    <a:pt x="218" y="9"/>
                  </a:lnTo>
                  <a:lnTo>
                    <a:pt x="216" y="7"/>
                  </a:lnTo>
                  <a:lnTo>
                    <a:pt x="214" y="4"/>
                  </a:lnTo>
                  <a:lnTo>
                    <a:pt x="212" y="3"/>
                  </a:lnTo>
                  <a:lnTo>
                    <a:pt x="210" y="1"/>
                  </a:lnTo>
                  <a:lnTo>
                    <a:pt x="207" y="0"/>
                  </a:lnTo>
                  <a:lnTo>
                    <a:pt x="20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353">
              <a:extLst>
                <a:ext uri="{FF2B5EF4-FFF2-40B4-BE49-F238E27FC236}">
                  <a16:creationId xmlns:a16="http://schemas.microsoft.com/office/drawing/2014/main" id="{C169358B-E013-4880-815F-2740E94DD6B5}"/>
                </a:ext>
              </a:extLst>
            </p:cNvPr>
            <p:cNvSpPr>
              <a:spLocks/>
            </p:cNvSpPr>
            <p:nvPr/>
          </p:nvSpPr>
          <p:spPr bwMode="auto">
            <a:xfrm>
              <a:off x="8228013" y="2695575"/>
              <a:ext cx="46038" cy="9525"/>
            </a:xfrm>
            <a:custGeom>
              <a:avLst/>
              <a:gdLst>
                <a:gd name="T0" fmla="*/ 129 w 143"/>
                <a:gd name="T1" fmla="*/ 29 h 29"/>
                <a:gd name="T2" fmla="*/ 132 w 143"/>
                <a:gd name="T3" fmla="*/ 29 h 29"/>
                <a:gd name="T4" fmla="*/ 134 w 143"/>
                <a:gd name="T5" fmla="*/ 28 h 29"/>
                <a:gd name="T6" fmla="*/ 137 w 143"/>
                <a:gd name="T7" fmla="*/ 27 h 29"/>
                <a:gd name="T8" fmla="*/ 139 w 143"/>
                <a:gd name="T9" fmla="*/ 26 h 29"/>
                <a:gd name="T10" fmla="*/ 140 w 143"/>
                <a:gd name="T11" fmla="*/ 23 h 29"/>
                <a:gd name="T12" fmla="*/ 142 w 143"/>
                <a:gd name="T13" fmla="*/ 21 h 29"/>
                <a:gd name="T14" fmla="*/ 143 w 143"/>
                <a:gd name="T15" fmla="*/ 18 h 29"/>
                <a:gd name="T16" fmla="*/ 143 w 143"/>
                <a:gd name="T17" fmla="*/ 14 h 29"/>
                <a:gd name="T18" fmla="*/ 143 w 143"/>
                <a:gd name="T19" fmla="*/ 12 h 29"/>
                <a:gd name="T20" fmla="*/ 142 w 143"/>
                <a:gd name="T21" fmla="*/ 9 h 29"/>
                <a:gd name="T22" fmla="*/ 140 w 143"/>
                <a:gd name="T23" fmla="*/ 7 h 29"/>
                <a:gd name="T24" fmla="*/ 139 w 143"/>
                <a:gd name="T25" fmla="*/ 5 h 29"/>
                <a:gd name="T26" fmla="*/ 137 w 143"/>
                <a:gd name="T27" fmla="*/ 3 h 29"/>
                <a:gd name="T28" fmla="*/ 134 w 143"/>
                <a:gd name="T29" fmla="*/ 2 h 29"/>
                <a:gd name="T30" fmla="*/ 132 w 143"/>
                <a:gd name="T31" fmla="*/ 1 h 29"/>
                <a:gd name="T32" fmla="*/ 129 w 143"/>
                <a:gd name="T33" fmla="*/ 0 h 29"/>
                <a:gd name="T34" fmla="*/ 15 w 143"/>
                <a:gd name="T35" fmla="*/ 0 h 29"/>
                <a:gd name="T36" fmla="*/ 12 w 143"/>
                <a:gd name="T37" fmla="*/ 1 h 29"/>
                <a:gd name="T38" fmla="*/ 9 w 143"/>
                <a:gd name="T39" fmla="*/ 2 h 29"/>
                <a:gd name="T40" fmla="*/ 7 w 143"/>
                <a:gd name="T41" fmla="*/ 3 h 29"/>
                <a:gd name="T42" fmla="*/ 4 w 143"/>
                <a:gd name="T43" fmla="*/ 5 h 29"/>
                <a:gd name="T44" fmla="*/ 2 w 143"/>
                <a:gd name="T45" fmla="*/ 7 h 29"/>
                <a:gd name="T46" fmla="*/ 1 w 143"/>
                <a:gd name="T47" fmla="*/ 9 h 29"/>
                <a:gd name="T48" fmla="*/ 0 w 143"/>
                <a:gd name="T49" fmla="*/ 12 h 29"/>
                <a:gd name="T50" fmla="*/ 0 w 143"/>
                <a:gd name="T51" fmla="*/ 14 h 29"/>
                <a:gd name="T52" fmla="*/ 0 w 143"/>
                <a:gd name="T53" fmla="*/ 18 h 29"/>
                <a:gd name="T54" fmla="*/ 1 w 143"/>
                <a:gd name="T55" fmla="*/ 21 h 29"/>
                <a:gd name="T56" fmla="*/ 2 w 143"/>
                <a:gd name="T57" fmla="*/ 23 h 29"/>
                <a:gd name="T58" fmla="*/ 4 w 143"/>
                <a:gd name="T59" fmla="*/ 26 h 29"/>
                <a:gd name="T60" fmla="*/ 7 w 143"/>
                <a:gd name="T61" fmla="*/ 27 h 29"/>
                <a:gd name="T62" fmla="*/ 9 w 143"/>
                <a:gd name="T63" fmla="*/ 28 h 29"/>
                <a:gd name="T64" fmla="*/ 12 w 143"/>
                <a:gd name="T65" fmla="*/ 29 h 29"/>
                <a:gd name="T66" fmla="*/ 15 w 143"/>
                <a:gd name="T67" fmla="*/ 29 h 29"/>
                <a:gd name="T68" fmla="*/ 129 w 143"/>
                <a:gd name="T69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43" h="29">
                  <a:moveTo>
                    <a:pt x="129" y="29"/>
                  </a:moveTo>
                  <a:lnTo>
                    <a:pt x="132" y="29"/>
                  </a:lnTo>
                  <a:lnTo>
                    <a:pt x="134" y="28"/>
                  </a:lnTo>
                  <a:lnTo>
                    <a:pt x="137" y="27"/>
                  </a:lnTo>
                  <a:lnTo>
                    <a:pt x="139" y="26"/>
                  </a:lnTo>
                  <a:lnTo>
                    <a:pt x="140" y="23"/>
                  </a:lnTo>
                  <a:lnTo>
                    <a:pt x="142" y="21"/>
                  </a:lnTo>
                  <a:lnTo>
                    <a:pt x="143" y="18"/>
                  </a:lnTo>
                  <a:lnTo>
                    <a:pt x="143" y="14"/>
                  </a:lnTo>
                  <a:lnTo>
                    <a:pt x="143" y="12"/>
                  </a:lnTo>
                  <a:lnTo>
                    <a:pt x="142" y="9"/>
                  </a:lnTo>
                  <a:lnTo>
                    <a:pt x="140" y="7"/>
                  </a:lnTo>
                  <a:lnTo>
                    <a:pt x="139" y="5"/>
                  </a:lnTo>
                  <a:lnTo>
                    <a:pt x="137" y="3"/>
                  </a:lnTo>
                  <a:lnTo>
                    <a:pt x="134" y="2"/>
                  </a:lnTo>
                  <a:lnTo>
                    <a:pt x="132" y="1"/>
                  </a:lnTo>
                  <a:lnTo>
                    <a:pt x="129" y="0"/>
                  </a:lnTo>
                  <a:lnTo>
                    <a:pt x="15" y="0"/>
                  </a:lnTo>
                  <a:lnTo>
                    <a:pt x="12" y="1"/>
                  </a:lnTo>
                  <a:lnTo>
                    <a:pt x="9" y="2"/>
                  </a:lnTo>
                  <a:lnTo>
                    <a:pt x="7" y="3"/>
                  </a:lnTo>
                  <a:lnTo>
                    <a:pt x="4" y="5"/>
                  </a:lnTo>
                  <a:lnTo>
                    <a:pt x="2" y="7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4"/>
                  </a:lnTo>
                  <a:lnTo>
                    <a:pt x="0" y="18"/>
                  </a:lnTo>
                  <a:lnTo>
                    <a:pt x="1" y="21"/>
                  </a:lnTo>
                  <a:lnTo>
                    <a:pt x="2" y="23"/>
                  </a:lnTo>
                  <a:lnTo>
                    <a:pt x="4" y="26"/>
                  </a:lnTo>
                  <a:lnTo>
                    <a:pt x="7" y="27"/>
                  </a:lnTo>
                  <a:lnTo>
                    <a:pt x="9" y="28"/>
                  </a:lnTo>
                  <a:lnTo>
                    <a:pt x="12" y="29"/>
                  </a:lnTo>
                  <a:lnTo>
                    <a:pt x="15" y="29"/>
                  </a:lnTo>
                  <a:lnTo>
                    <a:pt x="129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55" name="TextBox 54">
            <a:extLst>
              <a:ext uri="{FF2B5EF4-FFF2-40B4-BE49-F238E27FC236}">
                <a16:creationId xmlns:a16="http://schemas.microsoft.com/office/drawing/2014/main" id="{AA702585-C9B1-4AC8-8FDF-235643F50FDC}"/>
              </a:ext>
            </a:extLst>
          </p:cNvPr>
          <p:cNvSpPr txBox="1"/>
          <p:nvPr/>
        </p:nvSpPr>
        <p:spPr>
          <a:xfrm>
            <a:off x="1435471" y="1471920"/>
            <a:ext cx="1789960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1600">
                <a:solidFill>
                  <a:schemeClr val="accent1"/>
                </a:solidFill>
                <a:ea typeface="+mn-lt"/>
                <a:cs typeface="+mn-lt"/>
              </a:rPr>
              <a:t>STRENGTH</a:t>
            </a:r>
            <a:endParaRPr lang="ko-KR" altLang="en-US">
              <a:solidFill>
                <a:schemeClr val="accent1"/>
              </a:solidFill>
              <a:ea typeface="바탕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E7AB238D-2033-48F1-9946-8C30CFBCB309}"/>
              </a:ext>
            </a:extLst>
          </p:cNvPr>
          <p:cNvSpPr txBox="1"/>
          <p:nvPr/>
        </p:nvSpPr>
        <p:spPr>
          <a:xfrm>
            <a:off x="3949823" y="1471920"/>
            <a:ext cx="1789960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altLang="ko-KR" sz="1600">
                <a:solidFill>
                  <a:schemeClr val="tx2"/>
                </a:solidFill>
                <a:ea typeface="바탕"/>
              </a:rPr>
              <a:t>WEEKNESS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D3925331-2E01-430C-8137-B551418C305B}"/>
              </a:ext>
            </a:extLst>
          </p:cNvPr>
          <p:cNvSpPr txBox="1"/>
          <p:nvPr/>
        </p:nvSpPr>
        <p:spPr>
          <a:xfrm>
            <a:off x="6458196" y="1471920"/>
            <a:ext cx="1789960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1600">
                <a:solidFill>
                  <a:schemeClr val="tx2">
                    <a:lumMod val="75000"/>
                  </a:schemeClr>
                </a:solidFill>
              </a:rPr>
              <a:t>OPPORTUNITY</a:t>
            </a:r>
            <a:endParaRPr lang="ko-KR" altLang="en-US">
              <a:solidFill>
                <a:schemeClr val="tx2">
                  <a:lumMod val="75000"/>
                </a:schemeClr>
              </a:solidFill>
              <a:ea typeface="바탕"/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F45893B8-43CC-4E02-9992-956EF0E1E703}"/>
              </a:ext>
            </a:extLst>
          </p:cNvPr>
          <p:cNvSpPr txBox="1"/>
          <p:nvPr/>
        </p:nvSpPr>
        <p:spPr>
          <a:xfrm>
            <a:off x="8966569" y="1471920"/>
            <a:ext cx="1789960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1600">
                <a:solidFill>
                  <a:schemeClr val="bg2">
                    <a:lumMod val="50000"/>
                  </a:schemeClr>
                </a:solidFill>
              </a:rPr>
              <a:t>THREA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FF02990-9AB2-4F00-9C3D-21408166F5DF}"/>
              </a:ext>
            </a:extLst>
          </p:cNvPr>
          <p:cNvSpPr txBox="1"/>
          <p:nvPr/>
        </p:nvSpPr>
        <p:spPr>
          <a:xfrm>
            <a:off x="222583" y="322847"/>
            <a:ext cx="5199647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ko-KR" altLang="en-US" b="1">
                <a:solidFill>
                  <a:schemeClr val="bg2">
                    <a:lumMod val="75000"/>
                  </a:schemeClr>
                </a:solidFill>
                <a:latin typeface="Malgun Gothic"/>
                <a:ea typeface="Malgun Gothic"/>
              </a:rPr>
              <a:t>기존사이트 SWOT 분석</a:t>
            </a:r>
          </a:p>
        </p:txBody>
      </p:sp>
    </p:spTree>
    <p:extLst>
      <p:ext uri="{BB962C8B-B14F-4D97-AF65-F5344CB8AC3E}">
        <p14:creationId xmlns:p14="http://schemas.microsoft.com/office/powerpoint/2010/main" val="138320252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>
            <a:extLst>
              <a:ext uri="{FF2B5EF4-FFF2-40B4-BE49-F238E27FC236}">
                <a16:creationId xmlns:a16="http://schemas.microsoft.com/office/drawing/2014/main" id="{2FC10FF2-A030-4DF9-B3E9-80BF47367006}"/>
              </a:ext>
            </a:extLst>
          </p:cNvPr>
          <p:cNvSpPr txBox="1"/>
          <p:nvPr/>
        </p:nvSpPr>
        <p:spPr>
          <a:xfrm>
            <a:off x="838200" y="327025"/>
            <a:ext cx="10515600" cy="830997"/>
          </a:xfrm>
          <a:prstGeom prst="rect">
            <a:avLst/>
          </a:prstGeom>
          <a:noFill/>
          <a:effectLst/>
        </p:spPr>
        <p:txBody>
          <a:bodyPr wrap="square" lIns="0" tIns="0" rIns="0" bIns="0" rtlCol="0" anchor="t">
            <a:spAutoFit/>
          </a:bodyPr>
          <a:lstStyle/>
          <a:p>
            <a:pPr algn="r"/>
            <a:r>
              <a:rPr lang="en-US" sz="5400" b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Segoe UI Black"/>
                <a:cs typeface="Segoe UI"/>
              </a:rPr>
              <a:t>HOW?</a:t>
            </a:r>
            <a:endParaRPr lang="en-US" sz="5400" b="1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A3BBA7F-BCCD-4A20-A1E8-81DC7C7206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3E0A61-7EA5-4F01-AA83-D9B74E02F9FC}" type="datetime1">
              <a:rPr lang="en-US" smtClean="0"/>
              <a:t>7/3/2019</a:t>
            </a:fld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86B17AD-BC4C-433E-BA80-64D220DBC4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C45652-25C1-4BF0-A3A9-200AF1F974E6}" type="slidenum">
              <a:rPr lang="en-US" smtClean="0"/>
              <a:t>5</a:t>
            </a:fld>
            <a:endParaRPr lang="en-US"/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33CCF682-5A32-482C-B63F-0ED5A6AAA6CE}"/>
              </a:ext>
            </a:extLst>
          </p:cNvPr>
          <p:cNvGrpSpPr/>
          <p:nvPr/>
        </p:nvGrpSpPr>
        <p:grpSpPr>
          <a:xfrm>
            <a:off x="1033463" y="3075059"/>
            <a:ext cx="10137776" cy="3235325"/>
            <a:chOff x="1033463" y="1814513"/>
            <a:chExt cx="10137776" cy="3235325"/>
          </a:xfrm>
        </p:grpSpPr>
        <p:sp>
          <p:nvSpPr>
            <p:cNvPr id="7" name="Freeform 5">
              <a:extLst>
                <a:ext uri="{FF2B5EF4-FFF2-40B4-BE49-F238E27FC236}">
                  <a16:creationId xmlns:a16="http://schemas.microsoft.com/office/drawing/2014/main" id="{23B4038C-1480-4997-B331-51D6B94EC12F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5788" y="2794001"/>
              <a:ext cx="1695450" cy="1276350"/>
            </a:xfrm>
            <a:custGeom>
              <a:avLst/>
              <a:gdLst>
                <a:gd name="T0" fmla="*/ 0 w 1068"/>
                <a:gd name="T1" fmla="*/ 617 h 804"/>
                <a:gd name="T2" fmla="*/ 0 w 1068"/>
                <a:gd name="T3" fmla="*/ 804 h 804"/>
                <a:gd name="T4" fmla="*/ 1068 w 1068"/>
                <a:gd name="T5" fmla="*/ 187 h 804"/>
                <a:gd name="T6" fmla="*/ 1068 w 1068"/>
                <a:gd name="T7" fmla="*/ 0 h 804"/>
                <a:gd name="T8" fmla="*/ 0 w 1068"/>
                <a:gd name="T9" fmla="*/ 617 h 8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68" h="804">
                  <a:moveTo>
                    <a:pt x="0" y="617"/>
                  </a:moveTo>
                  <a:lnTo>
                    <a:pt x="0" y="804"/>
                  </a:lnTo>
                  <a:lnTo>
                    <a:pt x="1068" y="187"/>
                  </a:lnTo>
                  <a:lnTo>
                    <a:pt x="1068" y="0"/>
                  </a:lnTo>
                  <a:lnTo>
                    <a:pt x="0" y="617"/>
                  </a:ln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" name="Freeform 6">
              <a:extLst>
                <a:ext uri="{FF2B5EF4-FFF2-40B4-BE49-F238E27FC236}">
                  <a16:creationId xmlns:a16="http://schemas.microsoft.com/office/drawing/2014/main" id="{6EAC3B3C-39C2-4E14-A717-4C06A8D89CFE}"/>
                </a:ext>
              </a:extLst>
            </p:cNvPr>
            <p:cNvSpPr>
              <a:spLocks/>
            </p:cNvSpPr>
            <p:nvPr/>
          </p:nvSpPr>
          <p:spPr bwMode="auto">
            <a:xfrm>
              <a:off x="7791451" y="1814513"/>
              <a:ext cx="3379788" cy="1958975"/>
            </a:xfrm>
            <a:custGeom>
              <a:avLst/>
              <a:gdLst>
                <a:gd name="T0" fmla="*/ 0 w 2129"/>
                <a:gd name="T1" fmla="*/ 617 h 1234"/>
                <a:gd name="T2" fmla="*/ 1061 w 2129"/>
                <a:gd name="T3" fmla="*/ 1234 h 1234"/>
                <a:gd name="T4" fmla="*/ 2129 w 2129"/>
                <a:gd name="T5" fmla="*/ 617 h 1234"/>
                <a:gd name="T6" fmla="*/ 1069 w 2129"/>
                <a:gd name="T7" fmla="*/ 0 h 1234"/>
                <a:gd name="T8" fmla="*/ 0 w 2129"/>
                <a:gd name="T9" fmla="*/ 617 h 1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29" h="1234">
                  <a:moveTo>
                    <a:pt x="0" y="617"/>
                  </a:moveTo>
                  <a:lnTo>
                    <a:pt x="1061" y="1234"/>
                  </a:lnTo>
                  <a:lnTo>
                    <a:pt x="2129" y="617"/>
                  </a:lnTo>
                  <a:lnTo>
                    <a:pt x="1069" y="0"/>
                  </a:lnTo>
                  <a:lnTo>
                    <a:pt x="0" y="6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Freeform 7">
              <a:extLst>
                <a:ext uri="{FF2B5EF4-FFF2-40B4-BE49-F238E27FC236}">
                  <a16:creationId xmlns:a16="http://schemas.microsoft.com/office/drawing/2014/main" id="{F9743AAA-3C93-4DBB-B919-E1123838B52B}"/>
                </a:ext>
              </a:extLst>
            </p:cNvPr>
            <p:cNvSpPr>
              <a:spLocks/>
            </p:cNvSpPr>
            <p:nvPr/>
          </p:nvSpPr>
          <p:spPr bwMode="auto">
            <a:xfrm>
              <a:off x="7861301" y="1852613"/>
              <a:ext cx="3240088" cy="1882775"/>
            </a:xfrm>
            <a:custGeom>
              <a:avLst/>
              <a:gdLst>
                <a:gd name="T0" fmla="*/ 0 w 2041"/>
                <a:gd name="T1" fmla="*/ 593 h 1186"/>
                <a:gd name="T2" fmla="*/ 1025 w 2041"/>
                <a:gd name="T3" fmla="*/ 0 h 1186"/>
                <a:gd name="T4" fmla="*/ 2041 w 2041"/>
                <a:gd name="T5" fmla="*/ 593 h 1186"/>
                <a:gd name="T6" fmla="*/ 1017 w 2041"/>
                <a:gd name="T7" fmla="*/ 1186 h 1186"/>
                <a:gd name="T8" fmla="*/ 0 w 2041"/>
                <a:gd name="T9" fmla="*/ 593 h 1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41" h="1186">
                  <a:moveTo>
                    <a:pt x="0" y="593"/>
                  </a:moveTo>
                  <a:lnTo>
                    <a:pt x="1025" y="0"/>
                  </a:lnTo>
                  <a:lnTo>
                    <a:pt x="2041" y="593"/>
                  </a:lnTo>
                  <a:lnTo>
                    <a:pt x="1017" y="1186"/>
                  </a:lnTo>
                  <a:lnTo>
                    <a:pt x="0" y="593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8">
              <a:extLst>
                <a:ext uri="{FF2B5EF4-FFF2-40B4-BE49-F238E27FC236}">
                  <a16:creationId xmlns:a16="http://schemas.microsoft.com/office/drawing/2014/main" id="{7495218E-DC58-47E0-A7B1-C6BF0ABF62F3}"/>
                </a:ext>
              </a:extLst>
            </p:cNvPr>
            <p:cNvSpPr>
              <a:spLocks/>
            </p:cNvSpPr>
            <p:nvPr/>
          </p:nvSpPr>
          <p:spPr bwMode="auto">
            <a:xfrm>
              <a:off x="7780338" y="2794001"/>
              <a:ext cx="1695450" cy="1276350"/>
            </a:xfrm>
            <a:custGeom>
              <a:avLst/>
              <a:gdLst>
                <a:gd name="T0" fmla="*/ 1068 w 1068"/>
                <a:gd name="T1" fmla="*/ 617 h 804"/>
                <a:gd name="T2" fmla="*/ 1068 w 1068"/>
                <a:gd name="T3" fmla="*/ 804 h 804"/>
                <a:gd name="T4" fmla="*/ 0 w 1068"/>
                <a:gd name="T5" fmla="*/ 187 h 804"/>
                <a:gd name="T6" fmla="*/ 7 w 1068"/>
                <a:gd name="T7" fmla="*/ 0 h 804"/>
                <a:gd name="T8" fmla="*/ 1068 w 1068"/>
                <a:gd name="T9" fmla="*/ 617 h 8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68" h="804">
                  <a:moveTo>
                    <a:pt x="1068" y="617"/>
                  </a:moveTo>
                  <a:lnTo>
                    <a:pt x="1068" y="804"/>
                  </a:lnTo>
                  <a:lnTo>
                    <a:pt x="0" y="187"/>
                  </a:lnTo>
                  <a:lnTo>
                    <a:pt x="7" y="0"/>
                  </a:lnTo>
                  <a:lnTo>
                    <a:pt x="1068" y="617"/>
                  </a:lnTo>
                  <a:close/>
                </a:path>
              </a:pathLst>
            </a:custGeom>
            <a:solidFill>
              <a:srgbClr val="2094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9">
              <a:extLst>
                <a:ext uri="{FF2B5EF4-FFF2-40B4-BE49-F238E27FC236}">
                  <a16:creationId xmlns:a16="http://schemas.microsoft.com/office/drawing/2014/main" id="{739F085B-776E-4F88-A7A4-1F5B7832DB5F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2076" y="2794001"/>
              <a:ext cx="511175" cy="612775"/>
            </a:xfrm>
            <a:custGeom>
              <a:avLst/>
              <a:gdLst>
                <a:gd name="T0" fmla="*/ 5 w 81"/>
                <a:gd name="T1" fmla="*/ 44 h 97"/>
                <a:gd name="T2" fmla="*/ 4 w 81"/>
                <a:gd name="T3" fmla="*/ 44 h 97"/>
                <a:gd name="T4" fmla="*/ 4 w 81"/>
                <a:gd name="T5" fmla="*/ 45 h 97"/>
                <a:gd name="T6" fmla="*/ 3 w 81"/>
                <a:gd name="T7" fmla="*/ 45 h 97"/>
                <a:gd name="T8" fmla="*/ 3 w 81"/>
                <a:gd name="T9" fmla="*/ 45 h 97"/>
                <a:gd name="T10" fmla="*/ 3 w 81"/>
                <a:gd name="T11" fmla="*/ 46 h 97"/>
                <a:gd name="T12" fmla="*/ 2 w 81"/>
                <a:gd name="T13" fmla="*/ 46 h 97"/>
                <a:gd name="T14" fmla="*/ 2 w 81"/>
                <a:gd name="T15" fmla="*/ 46 h 97"/>
                <a:gd name="T16" fmla="*/ 2 w 81"/>
                <a:gd name="T17" fmla="*/ 47 h 97"/>
                <a:gd name="T18" fmla="*/ 1 w 81"/>
                <a:gd name="T19" fmla="*/ 47 h 97"/>
                <a:gd name="T20" fmla="*/ 1 w 81"/>
                <a:gd name="T21" fmla="*/ 47 h 97"/>
                <a:gd name="T22" fmla="*/ 1 w 81"/>
                <a:gd name="T23" fmla="*/ 47 h 97"/>
                <a:gd name="T24" fmla="*/ 1 w 81"/>
                <a:gd name="T25" fmla="*/ 48 h 97"/>
                <a:gd name="T26" fmla="*/ 1 w 81"/>
                <a:gd name="T27" fmla="*/ 48 h 97"/>
                <a:gd name="T28" fmla="*/ 1 w 81"/>
                <a:gd name="T29" fmla="*/ 48 h 97"/>
                <a:gd name="T30" fmla="*/ 0 w 81"/>
                <a:gd name="T31" fmla="*/ 49 h 97"/>
                <a:gd name="T32" fmla="*/ 0 w 81"/>
                <a:gd name="T33" fmla="*/ 49 h 97"/>
                <a:gd name="T34" fmla="*/ 0 w 81"/>
                <a:gd name="T35" fmla="*/ 49 h 97"/>
                <a:gd name="T36" fmla="*/ 0 w 81"/>
                <a:gd name="T37" fmla="*/ 49 h 97"/>
                <a:gd name="T38" fmla="*/ 0 w 81"/>
                <a:gd name="T39" fmla="*/ 50 h 97"/>
                <a:gd name="T40" fmla="*/ 0 w 81"/>
                <a:gd name="T41" fmla="*/ 50 h 97"/>
                <a:gd name="T42" fmla="*/ 0 w 81"/>
                <a:gd name="T43" fmla="*/ 50 h 97"/>
                <a:gd name="T44" fmla="*/ 0 w 81"/>
                <a:gd name="T45" fmla="*/ 50 h 97"/>
                <a:gd name="T46" fmla="*/ 0 w 81"/>
                <a:gd name="T47" fmla="*/ 97 h 97"/>
                <a:gd name="T48" fmla="*/ 0 w 81"/>
                <a:gd name="T49" fmla="*/ 97 h 97"/>
                <a:gd name="T50" fmla="*/ 0 w 81"/>
                <a:gd name="T51" fmla="*/ 96 h 97"/>
                <a:gd name="T52" fmla="*/ 0 w 81"/>
                <a:gd name="T53" fmla="*/ 96 h 97"/>
                <a:gd name="T54" fmla="*/ 0 w 81"/>
                <a:gd name="T55" fmla="*/ 96 h 97"/>
                <a:gd name="T56" fmla="*/ 0 w 81"/>
                <a:gd name="T57" fmla="*/ 95 h 97"/>
                <a:gd name="T58" fmla="*/ 1 w 81"/>
                <a:gd name="T59" fmla="*/ 95 h 97"/>
                <a:gd name="T60" fmla="*/ 1 w 81"/>
                <a:gd name="T61" fmla="*/ 94 h 97"/>
                <a:gd name="T62" fmla="*/ 1 w 81"/>
                <a:gd name="T63" fmla="*/ 94 h 97"/>
                <a:gd name="T64" fmla="*/ 1 w 81"/>
                <a:gd name="T65" fmla="*/ 93 h 97"/>
                <a:gd name="T66" fmla="*/ 2 w 81"/>
                <a:gd name="T67" fmla="*/ 93 h 97"/>
                <a:gd name="T68" fmla="*/ 2 w 81"/>
                <a:gd name="T69" fmla="*/ 93 h 97"/>
                <a:gd name="T70" fmla="*/ 3 w 81"/>
                <a:gd name="T71" fmla="*/ 92 h 97"/>
                <a:gd name="T72" fmla="*/ 3 w 81"/>
                <a:gd name="T73" fmla="*/ 92 h 97"/>
                <a:gd name="T74" fmla="*/ 4 w 81"/>
                <a:gd name="T75" fmla="*/ 91 h 97"/>
                <a:gd name="T76" fmla="*/ 4 w 81"/>
                <a:gd name="T77" fmla="*/ 91 h 97"/>
                <a:gd name="T78" fmla="*/ 81 w 81"/>
                <a:gd name="T79" fmla="*/ 47 h 97"/>
                <a:gd name="T80" fmla="*/ 81 w 81"/>
                <a:gd name="T81" fmla="*/ 0 h 97"/>
                <a:gd name="T82" fmla="*/ 5 w 81"/>
                <a:gd name="T83" fmla="*/ 44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81" h="97">
                  <a:moveTo>
                    <a:pt x="5" y="44"/>
                  </a:moveTo>
                  <a:cubicBezTo>
                    <a:pt x="5" y="44"/>
                    <a:pt x="4" y="44"/>
                    <a:pt x="4" y="44"/>
                  </a:cubicBezTo>
                  <a:cubicBezTo>
                    <a:pt x="4" y="44"/>
                    <a:pt x="4" y="44"/>
                    <a:pt x="4" y="45"/>
                  </a:cubicBezTo>
                  <a:cubicBezTo>
                    <a:pt x="4" y="45"/>
                    <a:pt x="4" y="45"/>
                    <a:pt x="3" y="45"/>
                  </a:cubicBezTo>
                  <a:cubicBezTo>
                    <a:pt x="3" y="45"/>
                    <a:pt x="3" y="45"/>
                    <a:pt x="3" y="45"/>
                  </a:cubicBezTo>
                  <a:cubicBezTo>
                    <a:pt x="3" y="45"/>
                    <a:pt x="3" y="46"/>
                    <a:pt x="3" y="46"/>
                  </a:cubicBezTo>
                  <a:cubicBezTo>
                    <a:pt x="2" y="46"/>
                    <a:pt x="2" y="46"/>
                    <a:pt x="2" y="46"/>
                  </a:cubicBezTo>
                  <a:cubicBezTo>
                    <a:pt x="2" y="46"/>
                    <a:pt x="2" y="46"/>
                    <a:pt x="2" y="46"/>
                  </a:cubicBezTo>
                  <a:cubicBezTo>
                    <a:pt x="2" y="46"/>
                    <a:pt x="2" y="46"/>
                    <a:pt x="2" y="47"/>
                  </a:cubicBezTo>
                  <a:cubicBezTo>
                    <a:pt x="2" y="47"/>
                    <a:pt x="1" y="47"/>
                    <a:pt x="1" y="47"/>
                  </a:cubicBezTo>
                  <a:cubicBezTo>
                    <a:pt x="1" y="47"/>
                    <a:pt x="1" y="47"/>
                    <a:pt x="1" y="47"/>
                  </a:cubicBezTo>
                  <a:cubicBezTo>
                    <a:pt x="1" y="47"/>
                    <a:pt x="1" y="47"/>
                    <a:pt x="1" y="47"/>
                  </a:cubicBezTo>
                  <a:cubicBezTo>
                    <a:pt x="1" y="48"/>
                    <a:pt x="1" y="48"/>
                    <a:pt x="1" y="48"/>
                  </a:cubicBezTo>
                  <a:cubicBezTo>
                    <a:pt x="1" y="48"/>
                    <a:pt x="1" y="48"/>
                    <a:pt x="1" y="48"/>
                  </a:cubicBezTo>
                  <a:cubicBezTo>
                    <a:pt x="1" y="48"/>
                    <a:pt x="1" y="48"/>
                    <a:pt x="1" y="48"/>
                  </a:cubicBezTo>
                  <a:cubicBezTo>
                    <a:pt x="1" y="48"/>
                    <a:pt x="0" y="48"/>
                    <a:pt x="0" y="49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49"/>
                    <a:pt x="0" y="50"/>
                    <a:pt x="0" y="50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0" y="97"/>
                    <a:pt x="0" y="97"/>
                    <a:pt x="0" y="96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0" y="95"/>
                    <a:pt x="1" y="95"/>
                    <a:pt x="1" y="95"/>
                  </a:cubicBezTo>
                  <a:cubicBezTo>
                    <a:pt x="1" y="95"/>
                    <a:pt x="1" y="94"/>
                    <a:pt x="1" y="94"/>
                  </a:cubicBezTo>
                  <a:cubicBezTo>
                    <a:pt x="1" y="94"/>
                    <a:pt x="1" y="94"/>
                    <a:pt x="1" y="94"/>
                  </a:cubicBezTo>
                  <a:cubicBezTo>
                    <a:pt x="1" y="94"/>
                    <a:pt x="1" y="94"/>
                    <a:pt x="1" y="93"/>
                  </a:cubicBezTo>
                  <a:cubicBezTo>
                    <a:pt x="2" y="93"/>
                    <a:pt x="2" y="93"/>
                    <a:pt x="2" y="93"/>
                  </a:cubicBezTo>
                  <a:cubicBezTo>
                    <a:pt x="2" y="93"/>
                    <a:pt x="2" y="93"/>
                    <a:pt x="2" y="93"/>
                  </a:cubicBezTo>
                  <a:cubicBezTo>
                    <a:pt x="3" y="92"/>
                    <a:pt x="3" y="92"/>
                    <a:pt x="3" y="92"/>
                  </a:cubicBezTo>
                  <a:cubicBezTo>
                    <a:pt x="3" y="92"/>
                    <a:pt x="3" y="92"/>
                    <a:pt x="3" y="92"/>
                  </a:cubicBezTo>
                  <a:cubicBezTo>
                    <a:pt x="3" y="92"/>
                    <a:pt x="4" y="92"/>
                    <a:pt x="4" y="91"/>
                  </a:cubicBezTo>
                  <a:cubicBezTo>
                    <a:pt x="4" y="91"/>
                    <a:pt x="4" y="91"/>
                    <a:pt x="4" y="91"/>
                  </a:cubicBezTo>
                  <a:cubicBezTo>
                    <a:pt x="81" y="47"/>
                    <a:pt x="81" y="47"/>
                    <a:pt x="81" y="47"/>
                  </a:cubicBezTo>
                  <a:cubicBezTo>
                    <a:pt x="81" y="0"/>
                    <a:pt x="81" y="0"/>
                    <a:pt x="81" y="0"/>
                  </a:cubicBezTo>
                  <a:lnTo>
                    <a:pt x="5" y="44"/>
                  </a:lnTo>
                  <a:close/>
                </a:path>
              </a:pathLst>
            </a:custGeom>
            <a:solidFill>
              <a:srgbClr val="BC60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10">
              <a:extLst>
                <a:ext uri="{FF2B5EF4-FFF2-40B4-BE49-F238E27FC236}">
                  <a16:creationId xmlns:a16="http://schemas.microsoft.com/office/drawing/2014/main" id="{D279BCA2-41A1-48CA-9071-6BDA08025E7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3463" y="1814513"/>
              <a:ext cx="3379788" cy="1958975"/>
            </a:xfrm>
            <a:custGeom>
              <a:avLst/>
              <a:gdLst>
                <a:gd name="T0" fmla="*/ 536 w 536"/>
                <a:gd name="T1" fmla="*/ 155 h 310"/>
                <a:gd name="T2" fmla="*/ 460 w 536"/>
                <a:gd name="T3" fmla="*/ 199 h 310"/>
                <a:gd name="T4" fmla="*/ 460 w 536"/>
                <a:gd name="T5" fmla="*/ 212 h 310"/>
                <a:gd name="T6" fmla="*/ 465 w 536"/>
                <a:gd name="T7" fmla="*/ 214 h 310"/>
                <a:gd name="T8" fmla="*/ 491 w 536"/>
                <a:gd name="T9" fmla="*/ 224 h 310"/>
                <a:gd name="T10" fmla="*/ 493 w 536"/>
                <a:gd name="T11" fmla="*/ 225 h 310"/>
                <a:gd name="T12" fmla="*/ 493 w 536"/>
                <a:gd name="T13" fmla="*/ 282 h 310"/>
                <a:gd name="T14" fmla="*/ 387 w 536"/>
                <a:gd name="T15" fmla="*/ 284 h 310"/>
                <a:gd name="T16" fmla="*/ 371 w 536"/>
                <a:gd name="T17" fmla="*/ 269 h 310"/>
                <a:gd name="T18" fmla="*/ 367 w 536"/>
                <a:gd name="T19" fmla="*/ 266 h 310"/>
                <a:gd name="T20" fmla="*/ 345 w 536"/>
                <a:gd name="T21" fmla="*/ 266 h 310"/>
                <a:gd name="T22" fmla="*/ 269 w 536"/>
                <a:gd name="T23" fmla="*/ 310 h 310"/>
                <a:gd name="T24" fmla="*/ 0 w 536"/>
                <a:gd name="T25" fmla="*/ 155 h 310"/>
                <a:gd name="T26" fmla="*/ 267 w 536"/>
                <a:gd name="T27" fmla="*/ 0 h 310"/>
                <a:gd name="T28" fmla="*/ 536 w 536"/>
                <a:gd name="T29" fmla="*/ 155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36" h="310">
                  <a:moveTo>
                    <a:pt x="536" y="155"/>
                  </a:moveTo>
                  <a:cubicBezTo>
                    <a:pt x="460" y="199"/>
                    <a:pt x="460" y="199"/>
                    <a:pt x="460" y="199"/>
                  </a:cubicBezTo>
                  <a:cubicBezTo>
                    <a:pt x="453" y="203"/>
                    <a:pt x="454" y="209"/>
                    <a:pt x="460" y="212"/>
                  </a:cubicBezTo>
                  <a:cubicBezTo>
                    <a:pt x="461" y="213"/>
                    <a:pt x="463" y="213"/>
                    <a:pt x="465" y="214"/>
                  </a:cubicBezTo>
                  <a:cubicBezTo>
                    <a:pt x="474" y="216"/>
                    <a:pt x="483" y="219"/>
                    <a:pt x="491" y="224"/>
                  </a:cubicBezTo>
                  <a:cubicBezTo>
                    <a:pt x="492" y="224"/>
                    <a:pt x="493" y="225"/>
                    <a:pt x="493" y="225"/>
                  </a:cubicBezTo>
                  <a:cubicBezTo>
                    <a:pt x="519" y="241"/>
                    <a:pt x="519" y="266"/>
                    <a:pt x="493" y="282"/>
                  </a:cubicBezTo>
                  <a:cubicBezTo>
                    <a:pt x="465" y="300"/>
                    <a:pt x="417" y="301"/>
                    <a:pt x="387" y="284"/>
                  </a:cubicBezTo>
                  <a:cubicBezTo>
                    <a:pt x="380" y="279"/>
                    <a:pt x="374" y="274"/>
                    <a:pt x="371" y="269"/>
                  </a:cubicBezTo>
                  <a:cubicBezTo>
                    <a:pt x="370" y="268"/>
                    <a:pt x="369" y="267"/>
                    <a:pt x="367" y="266"/>
                  </a:cubicBezTo>
                  <a:cubicBezTo>
                    <a:pt x="361" y="262"/>
                    <a:pt x="351" y="262"/>
                    <a:pt x="345" y="266"/>
                  </a:cubicBezTo>
                  <a:cubicBezTo>
                    <a:pt x="269" y="310"/>
                    <a:pt x="269" y="310"/>
                    <a:pt x="269" y="310"/>
                  </a:cubicBezTo>
                  <a:cubicBezTo>
                    <a:pt x="0" y="155"/>
                    <a:pt x="0" y="155"/>
                    <a:pt x="0" y="155"/>
                  </a:cubicBezTo>
                  <a:cubicBezTo>
                    <a:pt x="267" y="0"/>
                    <a:pt x="267" y="0"/>
                    <a:pt x="267" y="0"/>
                  </a:cubicBezTo>
                  <a:lnTo>
                    <a:pt x="536" y="15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11">
              <a:extLst>
                <a:ext uri="{FF2B5EF4-FFF2-40B4-BE49-F238E27FC236}">
                  <a16:creationId xmlns:a16="http://schemas.microsoft.com/office/drawing/2014/main" id="{74636A02-1F6D-4F83-8603-AAA8A0AC2E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3313" y="1852613"/>
              <a:ext cx="3240088" cy="1882775"/>
            </a:xfrm>
            <a:custGeom>
              <a:avLst/>
              <a:gdLst>
                <a:gd name="T0" fmla="*/ 0 w 514"/>
                <a:gd name="T1" fmla="*/ 149 h 298"/>
                <a:gd name="T2" fmla="*/ 256 w 514"/>
                <a:gd name="T3" fmla="*/ 0 h 298"/>
                <a:gd name="T4" fmla="*/ 514 w 514"/>
                <a:gd name="T5" fmla="*/ 149 h 298"/>
                <a:gd name="T6" fmla="*/ 446 w 514"/>
                <a:gd name="T7" fmla="*/ 188 h 298"/>
                <a:gd name="T8" fmla="*/ 439 w 514"/>
                <a:gd name="T9" fmla="*/ 200 h 298"/>
                <a:gd name="T10" fmla="*/ 446 w 514"/>
                <a:gd name="T11" fmla="*/ 211 h 298"/>
                <a:gd name="T12" fmla="*/ 453 w 514"/>
                <a:gd name="T13" fmla="*/ 213 h 298"/>
                <a:gd name="T14" fmla="*/ 477 w 514"/>
                <a:gd name="T15" fmla="*/ 222 h 298"/>
                <a:gd name="T16" fmla="*/ 480 w 514"/>
                <a:gd name="T17" fmla="*/ 224 h 298"/>
                <a:gd name="T18" fmla="*/ 496 w 514"/>
                <a:gd name="T19" fmla="*/ 248 h 298"/>
                <a:gd name="T20" fmla="*/ 479 w 514"/>
                <a:gd name="T21" fmla="*/ 272 h 298"/>
                <a:gd name="T22" fmla="*/ 428 w 514"/>
                <a:gd name="T23" fmla="*/ 285 h 298"/>
                <a:gd name="T24" fmla="*/ 379 w 514"/>
                <a:gd name="T25" fmla="*/ 273 h 298"/>
                <a:gd name="T26" fmla="*/ 364 w 514"/>
                <a:gd name="T27" fmla="*/ 260 h 298"/>
                <a:gd name="T28" fmla="*/ 359 w 514"/>
                <a:gd name="T29" fmla="*/ 255 h 298"/>
                <a:gd name="T30" fmla="*/ 345 w 514"/>
                <a:gd name="T31" fmla="*/ 252 h 298"/>
                <a:gd name="T32" fmla="*/ 331 w 514"/>
                <a:gd name="T33" fmla="*/ 255 h 298"/>
                <a:gd name="T34" fmla="*/ 258 w 514"/>
                <a:gd name="T35" fmla="*/ 298 h 298"/>
                <a:gd name="T36" fmla="*/ 0 w 514"/>
                <a:gd name="T37" fmla="*/ 149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14" h="298">
                  <a:moveTo>
                    <a:pt x="0" y="149"/>
                  </a:moveTo>
                  <a:cubicBezTo>
                    <a:pt x="256" y="0"/>
                    <a:pt x="256" y="0"/>
                    <a:pt x="256" y="0"/>
                  </a:cubicBezTo>
                  <a:cubicBezTo>
                    <a:pt x="514" y="149"/>
                    <a:pt x="514" y="149"/>
                    <a:pt x="514" y="149"/>
                  </a:cubicBezTo>
                  <a:cubicBezTo>
                    <a:pt x="446" y="188"/>
                    <a:pt x="446" y="188"/>
                    <a:pt x="446" y="188"/>
                  </a:cubicBezTo>
                  <a:cubicBezTo>
                    <a:pt x="441" y="191"/>
                    <a:pt x="439" y="195"/>
                    <a:pt x="439" y="200"/>
                  </a:cubicBezTo>
                  <a:cubicBezTo>
                    <a:pt x="439" y="204"/>
                    <a:pt x="441" y="208"/>
                    <a:pt x="446" y="211"/>
                  </a:cubicBezTo>
                  <a:cubicBezTo>
                    <a:pt x="448" y="212"/>
                    <a:pt x="450" y="213"/>
                    <a:pt x="453" y="213"/>
                  </a:cubicBezTo>
                  <a:cubicBezTo>
                    <a:pt x="462" y="215"/>
                    <a:pt x="470" y="218"/>
                    <a:pt x="477" y="222"/>
                  </a:cubicBezTo>
                  <a:cubicBezTo>
                    <a:pt x="478" y="223"/>
                    <a:pt x="479" y="223"/>
                    <a:pt x="480" y="224"/>
                  </a:cubicBezTo>
                  <a:cubicBezTo>
                    <a:pt x="490" y="231"/>
                    <a:pt x="496" y="239"/>
                    <a:pt x="496" y="248"/>
                  </a:cubicBezTo>
                  <a:cubicBezTo>
                    <a:pt x="496" y="257"/>
                    <a:pt x="490" y="265"/>
                    <a:pt x="479" y="272"/>
                  </a:cubicBezTo>
                  <a:cubicBezTo>
                    <a:pt x="466" y="280"/>
                    <a:pt x="448" y="285"/>
                    <a:pt x="428" y="285"/>
                  </a:cubicBezTo>
                  <a:cubicBezTo>
                    <a:pt x="410" y="285"/>
                    <a:pt x="392" y="281"/>
                    <a:pt x="379" y="273"/>
                  </a:cubicBezTo>
                  <a:cubicBezTo>
                    <a:pt x="372" y="269"/>
                    <a:pt x="367" y="265"/>
                    <a:pt x="364" y="260"/>
                  </a:cubicBezTo>
                  <a:cubicBezTo>
                    <a:pt x="363" y="258"/>
                    <a:pt x="361" y="256"/>
                    <a:pt x="359" y="255"/>
                  </a:cubicBezTo>
                  <a:cubicBezTo>
                    <a:pt x="355" y="253"/>
                    <a:pt x="350" y="252"/>
                    <a:pt x="345" y="252"/>
                  </a:cubicBezTo>
                  <a:cubicBezTo>
                    <a:pt x="340" y="252"/>
                    <a:pt x="335" y="253"/>
                    <a:pt x="331" y="255"/>
                  </a:cubicBezTo>
                  <a:cubicBezTo>
                    <a:pt x="258" y="298"/>
                    <a:pt x="258" y="298"/>
                    <a:pt x="258" y="298"/>
                  </a:cubicBezTo>
                  <a:lnTo>
                    <a:pt x="0" y="149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12">
              <a:extLst>
                <a:ext uri="{FF2B5EF4-FFF2-40B4-BE49-F238E27FC236}">
                  <a16:creationId xmlns:a16="http://schemas.microsoft.com/office/drawing/2014/main" id="{0D89CCEC-AA47-4015-A938-FFFF6A1C34AF}"/>
                </a:ext>
              </a:extLst>
            </p:cNvPr>
            <p:cNvSpPr>
              <a:spLocks/>
            </p:cNvSpPr>
            <p:nvPr/>
          </p:nvSpPr>
          <p:spPr bwMode="auto">
            <a:xfrm>
              <a:off x="2728913" y="3419476"/>
              <a:ext cx="1531938" cy="650875"/>
            </a:xfrm>
            <a:custGeom>
              <a:avLst/>
              <a:gdLst>
                <a:gd name="T0" fmla="*/ 243 w 243"/>
                <a:gd name="T1" fmla="*/ 4 h 103"/>
                <a:gd name="T2" fmla="*/ 242 w 243"/>
                <a:gd name="T3" fmla="*/ 8 h 103"/>
                <a:gd name="T4" fmla="*/ 240 w 243"/>
                <a:gd name="T5" fmla="*/ 13 h 103"/>
                <a:gd name="T6" fmla="*/ 237 w 243"/>
                <a:gd name="T7" fmla="*/ 17 h 103"/>
                <a:gd name="T8" fmla="*/ 232 w 243"/>
                <a:gd name="T9" fmla="*/ 22 h 103"/>
                <a:gd name="T10" fmla="*/ 228 w 243"/>
                <a:gd name="T11" fmla="*/ 25 h 103"/>
                <a:gd name="T12" fmla="*/ 222 w 243"/>
                <a:gd name="T13" fmla="*/ 29 h 103"/>
                <a:gd name="T14" fmla="*/ 214 w 243"/>
                <a:gd name="T15" fmla="*/ 34 h 103"/>
                <a:gd name="T16" fmla="*/ 205 w 243"/>
                <a:gd name="T17" fmla="*/ 37 h 103"/>
                <a:gd name="T18" fmla="*/ 198 w 243"/>
                <a:gd name="T19" fmla="*/ 39 h 103"/>
                <a:gd name="T20" fmla="*/ 191 w 243"/>
                <a:gd name="T21" fmla="*/ 40 h 103"/>
                <a:gd name="T22" fmla="*/ 183 w 243"/>
                <a:gd name="T23" fmla="*/ 42 h 103"/>
                <a:gd name="T24" fmla="*/ 173 w 243"/>
                <a:gd name="T25" fmla="*/ 42 h 103"/>
                <a:gd name="T26" fmla="*/ 166 w 243"/>
                <a:gd name="T27" fmla="*/ 42 h 103"/>
                <a:gd name="T28" fmla="*/ 159 w 243"/>
                <a:gd name="T29" fmla="*/ 42 h 103"/>
                <a:gd name="T30" fmla="*/ 152 w 243"/>
                <a:gd name="T31" fmla="*/ 41 h 103"/>
                <a:gd name="T32" fmla="*/ 145 w 243"/>
                <a:gd name="T33" fmla="*/ 39 h 103"/>
                <a:gd name="T34" fmla="*/ 137 w 243"/>
                <a:gd name="T35" fmla="*/ 38 h 103"/>
                <a:gd name="T36" fmla="*/ 128 w 243"/>
                <a:gd name="T37" fmla="*/ 34 h 103"/>
                <a:gd name="T38" fmla="*/ 122 w 243"/>
                <a:gd name="T39" fmla="*/ 32 h 103"/>
                <a:gd name="T40" fmla="*/ 98 w 243"/>
                <a:gd name="T41" fmla="*/ 12 h 103"/>
                <a:gd name="T42" fmla="*/ 96 w 243"/>
                <a:gd name="T43" fmla="*/ 11 h 103"/>
                <a:gd name="T44" fmla="*/ 93 w 243"/>
                <a:gd name="T45" fmla="*/ 10 h 103"/>
                <a:gd name="T46" fmla="*/ 91 w 243"/>
                <a:gd name="T47" fmla="*/ 9 h 103"/>
                <a:gd name="T48" fmla="*/ 89 w 243"/>
                <a:gd name="T49" fmla="*/ 9 h 103"/>
                <a:gd name="T50" fmla="*/ 87 w 243"/>
                <a:gd name="T51" fmla="*/ 9 h 103"/>
                <a:gd name="T52" fmla="*/ 84 w 243"/>
                <a:gd name="T53" fmla="*/ 9 h 103"/>
                <a:gd name="T54" fmla="*/ 82 w 243"/>
                <a:gd name="T55" fmla="*/ 10 h 103"/>
                <a:gd name="T56" fmla="*/ 80 w 243"/>
                <a:gd name="T57" fmla="*/ 10 h 103"/>
                <a:gd name="T58" fmla="*/ 76 w 243"/>
                <a:gd name="T59" fmla="*/ 12 h 103"/>
                <a:gd name="T60" fmla="*/ 77 w 243"/>
                <a:gd name="T61" fmla="*/ 58 h 103"/>
                <a:gd name="T62" fmla="*/ 80 w 243"/>
                <a:gd name="T63" fmla="*/ 57 h 103"/>
                <a:gd name="T64" fmla="*/ 84 w 243"/>
                <a:gd name="T65" fmla="*/ 56 h 103"/>
                <a:gd name="T66" fmla="*/ 87 w 243"/>
                <a:gd name="T67" fmla="*/ 56 h 103"/>
                <a:gd name="T68" fmla="*/ 90 w 243"/>
                <a:gd name="T69" fmla="*/ 56 h 103"/>
                <a:gd name="T70" fmla="*/ 94 w 243"/>
                <a:gd name="T71" fmla="*/ 57 h 103"/>
                <a:gd name="T72" fmla="*/ 97 w 243"/>
                <a:gd name="T73" fmla="*/ 58 h 103"/>
                <a:gd name="T74" fmla="*/ 121 w 243"/>
                <a:gd name="T75" fmla="*/ 78 h 103"/>
                <a:gd name="T76" fmla="*/ 127 w 243"/>
                <a:gd name="T77" fmla="*/ 81 h 103"/>
                <a:gd name="T78" fmla="*/ 133 w 243"/>
                <a:gd name="T79" fmla="*/ 83 h 103"/>
                <a:gd name="T80" fmla="*/ 139 w 243"/>
                <a:gd name="T81" fmla="*/ 85 h 103"/>
                <a:gd name="T82" fmla="*/ 145 w 243"/>
                <a:gd name="T83" fmla="*/ 86 h 103"/>
                <a:gd name="T84" fmla="*/ 151 w 243"/>
                <a:gd name="T85" fmla="*/ 88 h 103"/>
                <a:gd name="T86" fmla="*/ 157 w 243"/>
                <a:gd name="T87" fmla="*/ 88 h 103"/>
                <a:gd name="T88" fmla="*/ 162 w 243"/>
                <a:gd name="T89" fmla="*/ 89 h 103"/>
                <a:gd name="T90" fmla="*/ 167 w 243"/>
                <a:gd name="T91" fmla="*/ 89 h 103"/>
                <a:gd name="T92" fmla="*/ 175 w 243"/>
                <a:gd name="T93" fmla="*/ 89 h 103"/>
                <a:gd name="T94" fmla="*/ 182 w 243"/>
                <a:gd name="T95" fmla="*/ 88 h 103"/>
                <a:gd name="T96" fmla="*/ 188 w 243"/>
                <a:gd name="T97" fmla="*/ 88 h 103"/>
                <a:gd name="T98" fmla="*/ 194 w 243"/>
                <a:gd name="T99" fmla="*/ 87 h 103"/>
                <a:gd name="T100" fmla="*/ 201 w 243"/>
                <a:gd name="T101" fmla="*/ 85 h 103"/>
                <a:gd name="T102" fmla="*/ 206 w 243"/>
                <a:gd name="T103" fmla="*/ 84 h 103"/>
                <a:gd name="T104" fmla="*/ 215 w 243"/>
                <a:gd name="T105" fmla="*/ 80 h 103"/>
                <a:gd name="T106" fmla="*/ 223 w 243"/>
                <a:gd name="T107" fmla="*/ 76 h 103"/>
                <a:gd name="T108" fmla="*/ 228 w 243"/>
                <a:gd name="T109" fmla="*/ 72 h 103"/>
                <a:gd name="T110" fmla="*/ 232 w 243"/>
                <a:gd name="T111" fmla="*/ 69 h 103"/>
                <a:gd name="T112" fmla="*/ 236 w 243"/>
                <a:gd name="T113" fmla="*/ 65 h 103"/>
                <a:gd name="T114" fmla="*/ 238 w 243"/>
                <a:gd name="T115" fmla="*/ 62 h 103"/>
                <a:gd name="T116" fmla="*/ 241 w 243"/>
                <a:gd name="T117" fmla="*/ 58 h 103"/>
                <a:gd name="T118" fmla="*/ 242 w 243"/>
                <a:gd name="T119" fmla="*/ 55 h 103"/>
                <a:gd name="T120" fmla="*/ 243 w 243"/>
                <a:gd name="T121" fmla="*/ 52 h 103"/>
                <a:gd name="T122" fmla="*/ 243 w 243"/>
                <a:gd name="T123" fmla="*/ 48 h 103"/>
                <a:gd name="T124" fmla="*/ 243 w 243"/>
                <a:gd name="T125" fmla="*/ 1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43" h="103">
                  <a:moveTo>
                    <a:pt x="243" y="1"/>
                  </a:moveTo>
                  <a:cubicBezTo>
                    <a:pt x="243" y="1"/>
                    <a:pt x="243" y="2"/>
                    <a:pt x="243" y="2"/>
                  </a:cubicBezTo>
                  <a:cubicBezTo>
                    <a:pt x="243" y="2"/>
                    <a:pt x="243" y="3"/>
                    <a:pt x="243" y="3"/>
                  </a:cubicBezTo>
                  <a:cubicBezTo>
                    <a:pt x="243" y="3"/>
                    <a:pt x="243" y="4"/>
                    <a:pt x="243" y="4"/>
                  </a:cubicBezTo>
                  <a:cubicBezTo>
                    <a:pt x="243" y="5"/>
                    <a:pt x="243" y="5"/>
                    <a:pt x="243" y="5"/>
                  </a:cubicBezTo>
                  <a:cubicBezTo>
                    <a:pt x="243" y="6"/>
                    <a:pt x="243" y="6"/>
                    <a:pt x="242" y="6"/>
                  </a:cubicBezTo>
                  <a:cubicBezTo>
                    <a:pt x="242" y="7"/>
                    <a:pt x="242" y="7"/>
                    <a:pt x="242" y="7"/>
                  </a:cubicBezTo>
                  <a:cubicBezTo>
                    <a:pt x="242" y="8"/>
                    <a:pt x="242" y="8"/>
                    <a:pt x="242" y="8"/>
                  </a:cubicBezTo>
                  <a:cubicBezTo>
                    <a:pt x="242" y="9"/>
                    <a:pt x="242" y="9"/>
                    <a:pt x="242" y="9"/>
                  </a:cubicBezTo>
                  <a:cubicBezTo>
                    <a:pt x="241" y="10"/>
                    <a:pt x="241" y="10"/>
                    <a:pt x="241" y="10"/>
                  </a:cubicBezTo>
                  <a:cubicBezTo>
                    <a:pt x="241" y="11"/>
                    <a:pt x="241" y="11"/>
                    <a:pt x="241" y="11"/>
                  </a:cubicBezTo>
                  <a:cubicBezTo>
                    <a:pt x="240" y="12"/>
                    <a:pt x="240" y="12"/>
                    <a:pt x="240" y="13"/>
                  </a:cubicBezTo>
                  <a:cubicBezTo>
                    <a:pt x="240" y="13"/>
                    <a:pt x="240" y="13"/>
                    <a:pt x="240" y="13"/>
                  </a:cubicBezTo>
                  <a:cubicBezTo>
                    <a:pt x="239" y="14"/>
                    <a:pt x="239" y="14"/>
                    <a:pt x="238" y="15"/>
                  </a:cubicBezTo>
                  <a:cubicBezTo>
                    <a:pt x="238" y="15"/>
                    <a:pt x="238" y="16"/>
                    <a:pt x="238" y="16"/>
                  </a:cubicBezTo>
                  <a:cubicBezTo>
                    <a:pt x="238" y="16"/>
                    <a:pt x="237" y="17"/>
                    <a:pt x="237" y="17"/>
                  </a:cubicBezTo>
                  <a:cubicBezTo>
                    <a:pt x="237" y="17"/>
                    <a:pt x="237" y="18"/>
                    <a:pt x="236" y="18"/>
                  </a:cubicBezTo>
                  <a:cubicBezTo>
                    <a:pt x="236" y="18"/>
                    <a:pt x="235" y="19"/>
                    <a:pt x="235" y="20"/>
                  </a:cubicBezTo>
                  <a:cubicBezTo>
                    <a:pt x="235" y="20"/>
                    <a:pt x="235" y="20"/>
                    <a:pt x="234" y="20"/>
                  </a:cubicBezTo>
                  <a:cubicBezTo>
                    <a:pt x="234" y="21"/>
                    <a:pt x="233" y="22"/>
                    <a:pt x="232" y="22"/>
                  </a:cubicBezTo>
                  <a:cubicBezTo>
                    <a:pt x="232" y="23"/>
                    <a:pt x="232" y="23"/>
                    <a:pt x="231" y="23"/>
                  </a:cubicBezTo>
                  <a:cubicBezTo>
                    <a:pt x="231" y="23"/>
                    <a:pt x="231" y="24"/>
                    <a:pt x="230" y="24"/>
                  </a:cubicBezTo>
                  <a:cubicBezTo>
                    <a:pt x="230" y="24"/>
                    <a:pt x="230" y="24"/>
                    <a:pt x="229" y="25"/>
                  </a:cubicBezTo>
                  <a:cubicBezTo>
                    <a:pt x="229" y="25"/>
                    <a:pt x="229" y="25"/>
                    <a:pt x="228" y="25"/>
                  </a:cubicBezTo>
                  <a:cubicBezTo>
                    <a:pt x="228" y="26"/>
                    <a:pt x="228" y="26"/>
                    <a:pt x="227" y="26"/>
                  </a:cubicBezTo>
                  <a:cubicBezTo>
                    <a:pt x="227" y="27"/>
                    <a:pt x="227" y="27"/>
                    <a:pt x="226" y="27"/>
                  </a:cubicBezTo>
                  <a:cubicBezTo>
                    <a:pt x="226" y="27"/>
                    <a:pt x="225" y="28"/>
                    <a:pt x="224" y="28"/>
                  </a:cubicBezTo>
                  <a:cubicBezTo>
                    <a:pt x="224" y="29"/>
                    <a:pt x="223" y="29"/>
                    <a:pt x="222" y="29"/>
                  </a:cubicBezTo>
                  <a:cubicBezTo>
                    <a:pt x="221" y="30"/>
                    <a:pt x="220" y="31"/>
                    <a:pt x="219" y="31"/>
                  </a:cubicBezTo>
                  <a:cubicBezTo>
                    <a:pt x="219" y="31"/>
                    <a:pt x="219" y="31"/>
                    <a:pt x="219" y="31"/>
                  </a:cubicBezTo>
                  <a:cubicBezTo>
                    <a:pt x="218" y="32"/>
                    <a:pt x="216" y="33"/>
                    <a:pt x="215" y="33"/>
                  </a:cubicBezTo>
                  <a:cubicBezTo>
                    <a:pt x="215" y="33"/>
                    <a:pt x="214" y="34"/>
                    <a:pt x="214" y="34"/>
                  </a:cubicBezTo>
                  <a:cubicBezTo>
                    <a:pt x="213" y="34"/>
                    <a:pt x="212" y="35"/>
                    <a:pt x="211" y="35"/>
                  </a:cubicBezTo>
                  <a:cubicBezTo>
                    <a:pt x="211" y="35"/>
                    <a:pt x="210" y="35"/>
                    <a:pt x="210" y="35"/>
                  </a:cubicBezTo>
                  <a:cubicBezTo>
                    <a:pt x="209" y="36"/>
                    <a:pt x="207" y="36"/>
                    <a:pt x="206" y="37"/>
                  </a:cubicBezTo>
                  <a:cubicBezTo>
                    <a:pt x="206" y="37"/>
                    <a:pt x="205" y="37"/>
                    <a:pt x="205" y="37"/>
                  </a:cubicBezTo>
                  <a:cubicBezTo>
                    <a:pt x="204" y="37"/>
                    <a:pt x="203" y="38"/>
                    <a:pt x="203" y="38"/>
                  </a:cubicBezTo>
                  <a:cubicBezTo>
                    <a:pt x="202" y="38"/>
                    <a:pt x="202" y="38"/>
                    <a:pt x="201" y="38"/>
                  </a:cubicBezTo>
                  <a:cubicBezTo>
                    <a:pt x="201" y="38"/>
                    <a:pt x="200" y="38"/>
                    <a:pt x="199" y="39"/>
                  </a:cubicBezTo>
                  <a:cubicBezTo>
                    <a:pt x="199" y="39"/>
                    <a:pt x="198" y="39"/>
                    <a:pt x="198" y="39"/>
                  </a:cubicBezTo>
                  <a:cubicBezTo>
                    <a:pt x="197" y="39"/>
                    <a:pt x="197" y="39"/>
                    <a:pt x="196" y="39"/>
                  </a:cubicBezTo>
                  <a:cubicBezTo>
                    <a:pt x="195" y="40"/>
                    <a:pt x="195" y="40"/>
                    <a:pt x="194" y="40"/>
                  </a:cubicBezTo>
                  <a:cubicBezTo>
                    <a:pt x="194" y="40"/>
                    <a:pt x="193" y="40"/>
                    <a:pt x="193" y="40"/>
                  </a:cubicBezTo>
                  <a:cubicBezTo>
                    <a:pt x="192" y="40"/>
                    <a:pt x="192" y="40"/>
                    <a:pt x="191" y="40"/>
                  </a:cubicBezTo>
                  <a:cubicBezTo>
                    <a:pt x="190" y="40"/>
                    <a:pt x="189" y="41"/>
                    <a:pt x="188" y="41"/>
                  </a:cubicBezTo>
                  <a:cubicBezTo>
                    <a:pt x="188" y="41"/>
                    <a:pt x="187" y="41"/>
                    <a:pt x="187" y="41"/>
                  </a:cubicBezTo>
                  <a:cubicBezTo>
                    <a:pt x="186" y="41"/>
                    <a:pt x="185" y="41"/>
                    <a:pt x="183" y="41"/>
                  </a:cubicBezTo>
                  <a:cubicBezTo>
                    <a:pt x="183" y="41"/>
                    <a:pt x="183" y="41"/>
                    <a:pt x="183" y="42"/>
                  </a:cubicBezTo>
                  <a:cubicBezTo>
                    <a:pt x="181" y="42"/>
                    <a:pt x="180" y="42"/>
                    <a:pt x="179" y="42"/>
                  </a:cubicBezTo>
                  <a:cubicBezTo>
                    <a:pt x="179" y="42"/>
                    <a:pt x="178" y="42"/>
                    <a:pt x="178" y="42"/>
                  </a:cubicBezTo>
                  <a:cubicBezTo>
                    <a:pt x="177" y="42"/>
                    <a:pt x="176" y="42"/>
                    <a:pt x="175" y="42"/>
                  </a:cubicBezTo>
                  <a:cubicBezTo>
                    <a:pt x="174" y="42"/>
                    <a:pt x="174" y="42"/>
                    <a:pt x="173" y="42"/>
                  </a:cubicBezTo>
                  <a:cubicBezTo>
                    <a:pt x="173" y="42"/>
                    <a:pt x="172" y="42"/>
                    <a:pt x="171" y="42"/>
                  </a:cubicBezTo>
                  <a:cubicBezTo>
                    <a:pt x="171" y="42"/>
                    <a:pt x="170" y="42"/>
                    <a:pt x="170" y="42"/>
                  </a:cubicBezTo>
                  <a:cubicBezTo>
                    <a:pt x="169" y="42"/>
                    <a:pt x="168" y="42"/>
                    <a:pt x="168" y="42"/>
                  </a:cubicBezTo>
                  <a:cubicBezTo>
                    <a:pt x="167" y="42"/>
                    <a:pt x="166" y="42"/>
                    <a:pt x="166" y="42"/>
                  </a:cubicBezTo>
                  <a:cubicBezTo>
                    <a:pt x="165" y="42"/>
                    <a:pt x="165" y="42"/>
                    <a:pt x="164" y="42"/>
                  </a:cubicBezTo>
                  <a:cubicBezTo>
                    <a:pt x="163" y="42"/>
                    <a:pt x="163" y="42"/>
                    <a:pt x="162" y="42"/>
                  </a:cubicBezTo>
                  <a:cubicBezTo>
                    <a:pt x="162" y="42"/>
                    <a:pt x="161" y="42"/>
                    <a:pt x="160" y="42"/>
                  </a:cubicBezTo>
                  <a:cubicBezTo>
                    <a:pt x="160" y="42"/>
                    <a:pt x="159" y="42"/>
                    <a:pt x="159" y="42"/>
                  </a:cubicBezTo>
                  <a:cubicBezTo>
                    <a:pt x="158" y="41"/>
                    <a:pt x="157" y="41"/>
                    <a:pt x="157" y="41"/>
                  </a:cubicBezTo>
                  <a:cubicBezTo>
                    <a:pt x="156" y="41"/>
                    <a:pt x="156" y="41"/>
                    <a:pt x="155" y="41"/>
                  </a:cubicBezTo>
                  <a:cubicBezTo>
                    <a:pt x="154" y="41"/>
                    <a:pt x="154" y="41"/>
                    <a:pt x="153" y="41"/>
                  </a:cubicBezTo>
                  <a:cubicBezTo>
                    <a:pt x="153" y="41"/>
                    <a:pt x="152" y="41"/>
                    <a:pt x="152" y="41"/>
                  </a:cubicBezTo>
                  <a:cubicBezTo>
                    <a:pt x="151" y="41"/>
                    <a:pt x="150" y="40"/>
                    <a:pt x="150" y="40"/>
                  </a:cubicBezTo>
                  <a:cubicBezTo>
                    <a:pt x="149" y="40"/>
                    <a:pt x="149" y="40"/>
                    <a:pt x="148" y="40"/>
                  </a:cubicBezTo>
                  <a:cubicBezTo>
                    <a:pt x="147" y="40"/>
                    <a:pt x="147" y="40"/>
                    <a:pt x="146" y="40"/>
                  </a:cubicBezTo>
                  <a:cubicBezTo>
                    <a:pt x="146" y="40"/>
                    <a:pt x="145" y="40"/>
                    <a:pt x="145" y="39"/>
                  </a:cubicBezTo>
                  <a:cubicBezTo>
                    <a:pt x="144" y="39"/>
                    <a:pt x="143" y="39"/>
                    <a:pt x="142" y="39"/>
                  </a:cubicBezTo>
                  <a:cubicBezTo>
                    <a:pt x="142" y="39"/>
                    <a:pt x="141" y="39"/>
                    <a:pt x="141" y="39"/>
                  </a:cubicBezTo>
                  <a:cubicBezTo>
                    <a:pt x="140" y="38"/>
                    <a:pt x="139" y="38"/>
                    <a:pt x="139" y="38"/>
                  </a:cubicBezTo>
                  <a:cubicBezTo>
                    <a:pt x="138" y="38"/>
                    <a:pt x="138" y="38"/>
                    <a:pt x="137" y="38"/>
                  </a:cubicBezTo>
                  <a:cubicBezTo>
                    <a:pt x="136" y="37"/>
                    <a:pt x="135" y="37"/>
                    <a:pt x="133" y="36"/>
                  </a:cubicBezTo>
                  <a:cubicBezTo>
                    <a:pt x="133" y="36"/>
                    <a:pt x="133" y="36"/>
                    <a:pt x="133" y="36"/>
                  </a:cubicBezTo>
                  <a:cubicBezTo>
                    <a:pt x="132" y="36"/>
                    <a:pt x="131" y="35"/>
                    <a:pt x="129" y="35"/>
                  </a:cubicBezTo>
                  <a:cubicBezTo>
                    <a:pt x="129" y="35"/>
                    <a:pt x="128" y="35"/>
                    <a:pt x="128" y="34"/>
                  </a:cubicBezTo>
                  <a:cubicBezTo>
                    <a:pt x="127" y="34"/>
                    <a:pt x="127" y="34"/>
                    <a:pt x="127" y="34"/>
                  </a:cubicBezTo>
                  <a:cubicBezTo>
                    <a:pt x="126" y="34"/>
                    <a:pt x="125" y="33"/>
                    <a:pt x="125" y="33"/>
                  </a:cubicBezTo>
                  <a:cubicBezTo>
                    <a:pt x="125" y="33"/>
                    <a:pt x="124" y="33"/>
                    <a:pt x="124" y="33"/>
                  </a:cubicBezTo>
                  <a:cubicBezTo>
                    <a:pt x="123" y="32"/>
                    <a:pt x="123" y="32"/>
                    <a:pt x="122" y="32"/>
                  </a:cubicBezTo>
                  <a:cubicBezTo>
                    <a:pt x="122" y="31"/>
                    <a:pt x="121" y="31"/>
                    <a:pt x="121" y="31"/>
                  </a:cubicBezTo>
                  <a:cubicBezTo>
                    <a:pt x="120" y="31"/>
                    <a:pt x="119" y="30"/>
                    <a:pt x="118" y="30"/>
                  </a:cubicBezTo>
                  <a:cubicBezTo>
                    <a:pt x="111" y="25"/>
                    <a:pt x="105" y="20"/>
                    <a:pt x="102" y="15"/>
                  </a:cubicBezTo>
                  <a:cubicBezTo>
                    <a:pt x="101" y="14"/>
                    <a:pt x="100" y="13"/>
                    <a:pt x="98" y="12"/>
                  </a:cubicBezTo>
                  <a:cubicBezTo>
                    <a:pt x="98" y="11"/>
                    <a:pt x="97" y="11"/>
                    <a:pt x="97" y="11"/>
                  </a:cubicBezTo>
                  <a:cubicBezTo>
                    <a:pt x="97" y="11"/>
                    <a:pt x="97" y="11"/>
                    <a:pt x="97" y="11"/>
                  </a:cubicBezTo>
                  <a:cubicBezTo>
                    <a:pt x="96" y="11"/>
                    <a:pt x="96" y="11"/>
                    <a:pt x="96" y="11"/>
                  </a:cubicBezTo>
                  <a:cubicBezTo>
                    <a:pt x="96" y="11"/>
                    <a:pt x="96" y="11"/>
                    <a:pt x="96" y="11"/>
                  </a:cubicBezTo>
                  <a:cubicBezTo>
                    <a:pt x="95" y="10"/>
                    <a:pt x="95" y="10"/>
                    <a:pt x="94" y="10"/>
                  </a:cubicBezTo>
                  <a:cubicBezTo>
                    <a:pt x="94" y="10"/>
                    <a:pt x="94" y="10"/>
                    <a:pt x="94" y="10"/>
                  </a:cubicBezTo>
                  <a:cubicBezTo>
                    <a:pt x="94" y="10"/>
                    <a:pt x="94" y="10"/>
                    <a:pt x="94" y="10"/>
                  </a:cubicBezTo>
                  <a:cubicBezTo>
                    <a:pt x="93" y="10"/>
                    <a:pt x="93" y="10"/>
                    <a:pt x="93" y="10"/>
                  </a:cubicBezTo>
                  <a:cubicBezTo>
                    <a:pt x="93" y="10"/>
                    <a:pt x="92" y="10"/>
                    <a:pt x="92" y="10"/>
                  </a:cubicBezTo>
                  <a:cubicBezTo>
                    <a:pt x="92" y="10"/>
                    <a:pt x="92" y="10"/>
                    <a:pt x="92" y="10"/>
                  </a:cubicBezTo>
                  <a:cubicBezTo>
                    <a:pt x="92" y="9"/>
                    <a:pt x="91" y="9"/>
                    <a:pt x="91" y="9"/>
                  </a:cubicBezTo>
                  <a:cubicBezTo>
                    <a:pt x="91" y="9"/>
                    <a:pt x="91" y="9"/>
                    <a:pt x="91" y="9"/>
                  </a:cubicBezTo>
                  <a:cubicBezTo>
                    <a:pt x="91" y="9"/>
                    <a:pt x="91" y="9"/>
                    <a:pt x="91" y="9"/>
                  </a:cubicBezTo>
                  <a:cubicBezTo>
                    <a:pt x="90" y="9"/>
                    <a:pt x="90" y="9"/>
                    <a:pt x="90" y="9"/>
                  </a:cubicBezTo>
                  <a:cubicBezTo>
                    <a:pt x="90" y="9"/>
                    <a:pt x="89" y="9"/>
                    <a:pt x="89" y="9"/>
                  </a:cubicBezTo>
                  <a:cubicBezTo>
                    <a:pt x="89" y="9"/>
                    <a:pt x="89" y="9"/>
                    <a:pt x="89" y="9"/>
                  </a:cubicBezTo>
                  <a:cubicBezTo>
                    <a:pt x="89" y="9"/>
                    <a:pt x="88" y="9"/>
                    <a:pt x="88" y="9"/>
                  </a:cubicBezTo>
                  <a:cubicBezTo>
                    <a:pt x="88" y="9"/>
                    <a:pt x="88" y="9"/>
                    <a:pt x="88" y="9"/>
                  </a:cubicBezTo>
                  <a:cubicBezTo>
                    <a:pt x="88" y="9"/>
                    <a:pt x="88" y="9"/>
                    <a:pt x="88" y="9"/>
                  </a:cubicBezTo>
                  <a:cubicBezTo>
                    <a:pt x="87" y="9"/>
                    <a:pt x="87" y="9"/>
                    <a:pt x="87" y="9"/>
                  </a:cubicBezTo>
                  <a:cubicBezTo>
                    <a:pt x="86" y="9"/>
                    <a:pt x="86" y="9"/>
                    <a:pt x="86" y="9"/>
                  </a:cubicBezTo>
                  <a:cubicBezTo>
                    <a:pt x="86" y="9"/>
                    <a:pt x="86" y="9"/>
                    <a:pt x="86" y="9"/>
                  </a:cubicBezTo>
                  <a:cubicBezTo>
                    <a:pt x="86" y="9"/>
                    <a:pt x="85" y="9"/>
                    <a:pt x="85" y="9"/>
                  </a:cubicBezTo>
                  <a:cubicBezTo>
                    <a:pt x="85" y="9"/>
                    <a:pt x="85" y="9"/>
                    <a:pt x="84" y="9"/>
                  </a:cubicBezTo>
                  <a:cubicBezTo>
                    <a:pt x="84" y="9"/>
                    <a:pt x="84" y="9"/>
                    <a:pt x="84" y="9"/>
                  </a:cubicBezTo>
                  <a:cubicBezTo>
                    <a:pt x="84" y="9"/>
                    <a:pt x="83" y="9"/>
                    <a:pt x="83" y="9"/>
                  </a:cubicBezTo>
                  <a:cubicBezTo>
                    <a:pt x="83" y="9"/>
                    <a:pt x="83" y="9"/>
                    <a:pt x="82" y="9"/>
                  </a:cubicBezTo>
                  <a:cubicBezTo>
                    <a:pt x="82" y="9"/>
                    <a:pt x="82" y="10"/>
                    <a:pt x="82" y="10"/>
                  </a:cubicBezTo>
                  <a:cubicBezTo>
                    <a:pt x="82" y="10"/>
                    <a:pt x="81" y="10"/>
                    <a:pt x="81" y="10"/>
                  </a:cubicBezTo>
                  <a:cubicBezTo>
                    <a:pt x="81" y="10"/>
                    <a:pt x="81" y="10"/>
                    <a:pt x="81" y="10"/>
                  </a:cubicBezTo>
                  <a:cubicBezTo>
                    <a:pt x="80" y="10"/>
                    <a:pt x="80" y="10"/>
                    <a:pt x="80" y="10"/>
                  </a:cubicBezTo>
                  <a:cubicBezTo>
                    <a:pt x="80" y="10"/>
                    <a:pt x="80" y="10"/>
                    <a:pt x="80" y="10"/>
                  </a:cubicBezTo>
                  <a:cubicBezTo>
                    <a:pt x="79" y="10"/>
                    <a:pt x="79" y="10"/>
                    <a:pt x="79" y="10"/>
                  </a:cubicBezTo>
                  <a:cubicBezTo>
                    <a:pt x="79" y="10"/>
                    <a:pt x="78" y="11"/>
                    <a:pt x="78" y="11"/>
                  </a:cubicBezTo>
                  <a:cubicBezTo>
                    <a:pt x="78" y="11"/>
                    <a:pt x="78" y="11"/>
                    <a:pt x="78" y="11"/>
                  </a:cubicBezTo>
                  <a:cubicBezTo>
                    <a:pt x="77" y="11"/>
                    <a:pt x="77" y="11"/>
                    <a:pt x="76" y="12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103"/>
                    <a:pt x="0" y="103"/>
                    <a:pt x="0" y="103"/>
                  </a:cubicBezTo>
                  <a:cubicBezTo>
                    <a:pt x="76" y="59"/>
                    <a:pt x="76" y="59"/>
                    <a:pt x="76" y="59"/>
                  </a:cubicBezTo>
                  <a:cubicBezTo>
                    <a:pt x="76" y="58"/>
                    <a:pt x="77" y="58"/>
                    <a:pt x="77" y="58"/>
                  </a:cubicBezTo>
                  <a:cubicBezTo>
                    <a:pt x="78" y="58"/>
                    <a:pt x="78" y="58"/>
                    <a:pt x="78" y="58"/>
                  </a:cubicBezTo>
                  <a:cubicBezTo>
                    <a:pt x="78" y="57"/>
                    <a:pt x="79" y="57"/>
                    <a:pt x="79" y="57"/>
                  </a:cubicBezTo>
                  <a:cubicBezTo>
                    <a:pt x="79" y="57"/>
                    <a:pt x="79" y="57"/>
                    <a:pt x="80" y="57"/>
                  </a:cubicBezTo>
                  <a:cubicBezTo>
                    <a:pt x="80" y="57"/>
                    <a:pt x="80" y="57"/>
                    <a:pt x="80" y="57"/>
                  </a:cubicBezTo>
                  <a:cubicBezTo>
                    <a:pt x="81" y="57"/>
                    <a:pt x="81" y="57"/>
                    <a:pt x="81" y="57"/>
                  </a:cubicBezTo>
                  <a:cubicBezTo>
                    <a:pt x="81" y="57"/>
                    <a:pt x="82" y="56"/>
                    <a:pt x="82" y="56"/>
                  </a:cubicBezTo>
                  <a:cubicBezTo>
                    <a:pt x="82" y="56"/>
                    <a:pt x="82" y="56"/>
                    <a:pt x="82" y="56"/>
                  </a:cubicBezTo>
                  <a:cubicBezTo>
                    <a:pt x="83" y="56"/>
                    <a:pt x="84" y="56"/>
                    <a:pt x="84" y="56"/>
                  </a:cubicBezTo>
                  <a:cubicBezTo>
                    <a:pt x="84" y="56"/>
                    <a:pt x="84" y="56"/>
                    <a:pt x="85" y="56"/>
                  </a:cubicBezTo>
                  <a:cubicBezTo>
                    <a:pt x="85" y="56"/>
                    <a:pt x="85" y="56"/>
                    <a:pt x="86" y="56"/>
                  </a:cubicBezTo>
                  <a:cubicBezTo>
                    <a:pt x="86" y="56"/>
                    <a:pt x="86" y="56"/>
                    <a:pt x="87" y="56"/>
                  </a:cubicBezTo>
                  <a:cubicBezTo>
                    <a:pt x="87" y="56"/>
                    <a:pt x="87" y="56"/>
                    <a:pt x="87" y="56"/>
                  </a:cubicBezTo>
                  <a:cubicBezTo>
                    <a:pt x="88" y="56"/>
                    <a:pt x="88" y="56"/>
                    <a:pt x="88" y="56"/>
                  </a:cubicBezTo>
                  <a:cubicBezTo>
                    <a:pt x="88" y="56"/>
                    <a:pt x="89" y="56"/>
                    <a:pt x="89" y="56"/>
                  </a:cubicBezTo>
                  <a:cubicBezTo>
                    <a:pt x="89" y="56"/>
                    <a:pt x="89" y="56"/>
                    <a:pt x="90" y="56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91" y="56"/>
                    <a:pt x="91" y="56"/>
                    <a:pt x="91" y="56"/>
                  </a:cubicBezTo>
                  <a:cubicBezTo>
                    <a:pt x="91" y="56"/>
                    <a:pt x="92" y="56"/>
                    <a:pt x="92" y="56"/>
                  </a:cubicBezTo>
                  <a:cubicBezTo>
                    <a:pt x="92" y="56"/>
                    <a:pt x="92" y="56"/>
                    <a:pt x="93" y="56"/>
                  </a:cubicBezTo>
                  <a:cubicBezTo>
                    <a:pt x="93" y="57"/>
                    <a:pt x="93" y="57"/>
                    <a:pt x="94" y="57"/>
                  </a:cubicBezTo>
                  <a:cubicBezTo>
                    <a:pt x="94" y="57"/>
                    <a:pt x="94" y="57"/>
                    <a:pt x="94" y="57"/>
                  </a:cubicBezTo>
                  <a:cubicBezTo>
                    <a:pt x="95" y="57"/>
                    <a:pt x="95" y="57"/>
                    <a:pt x="96" y="57"/>
                  </a:cubicBezTo>
                  <a:cubicBezTo>
                    <a:pt x="96" y="58"/>
                    <a:pt x="96" y="58"/>
                    <a:pt x="96" y="58"/>
                  </a:cubicBezTo>
                  <a:cubicBezTo>
                    <a:pt x="97" y="58"/>
                    <a:pt x="97" y="58"/>
                    <a:pt x="97" y="58"/>
                  </a:cubicBezTo>
                  <a:cubicBezTo>
                    <a:pt x="97" y="58"/>
                    <a:pt x="98" y="58"/>
                    <a:pt x="98" y="59"/>
                  </a:cubicBezTo>
                  <a:cubicBezTo>
                    <a:pt x="99" y="59"/>
                    <a:pt x="101" y="60"/>
                    <a:pt x="101" y="62"/>
                  </a:cubicBezTo>
                  <a:cubicBezTo>
                    <a:pt x="105" y="67"/>
                    <a:pt x="111" y="72"/>
                    <a:pt x="118" y="76"/>
                  </a:cubicBezTo>
                  <a:cubicBezTo>
                    <a:pt x="119" y="77"/>
                    <a:pt x="120" y="77"/>
                    <a:pt x="121" y="78"/>
                  </a:cubicBezTo>
                  <a:cubicBezTo>
                    <a:pt x="121" y="78"/>
                    <a:pt x="121" y="78"/>
                    <a:pt x="122" y="78"/>
                  </a:cubicBezTo>
                  <a:cubicBezTo>
                    <a:pt x="122" y="79"/>
                    <a:pt x="123" y="79"/>
                    <a:pt x="124" y="79"/>
                  </a:cubicBezTo>
                  <a:cubicBezTo>
                    <a:pt x="124" y="80"/>
                    <a:pt x="124" y="80"/>
                    <a:pt x="125" y="80"/>
                  </a:cubicBezTo>
                  <a:cubicBezTo>
                    <a:pt x="125" y="80"/>
                    <a:pt x="126" y="80"/>
                    <a:pt x="127" y="81"/>
                  </a:cubicBezTo>
                  <a:cubicBezTo>
                    <a:pt x="127" y="81"/>
                    <a:pt x="127" y="81"/>
                    <a:pt x="128" y="81"/>
                  </a:cubicBezTo>
                  <a:cubicBezTo>
                    <a:pt x="128" y="81"/>
                    <a:pt x="128" y="81"/>
                    <a:pt x="129" y="82"/>
                  </a:cubicBezTo>
                  <a:cubicBezTo>
                    <a:pt x="129" y="82"/>
                    <a:pt x="129" y="82"/>
                    <a:pt x="129" y="82"/>
                  </a:cubicBezTo>
                  <a:cubicBezTo>
                    <a:pt x="131" y="82"/>
                    <a:pt x="132" y="83"/>
                    <a:pt x="133" y="83"/>
                  </a:cubicBezTo>
                  <a:cubicBezTo>
                    <a:pt x="133" y="83"/>
                    <a:pt x="133" y="83"/>
                    <a:pt x="133" y="83"/>
                  </a:cubicBezTo>
                  <a:cubicBezTo>
                    <a:pt x="135" y="84"/>
                    <a:pt x="136" y="84"/>
                    <a:pt x="137" y="84"/>
                  </a:cubicBezTo>
                  <a:cubicBezTo>
                    <a:pt x="137" y="84"/>
                    <a:pt x="138" y="85"/>
                    <a:pt x="138" y="85"/>
                  </a:cubicBezTo>
                  <a:cubicBezTo>
                    <a:pt x="138" y="85"/>
                    <a:pt x="138" y="85"/>
                    <a:pt x="139" y="85"/>
                  </a:cubicBezTo>
                  <a:cubicBezTo>
                    <a:pt x="139" y="85"/>
                    <a:pt x="140" y="85"/>
                    <a:pt x="141" y="85"/>
                  </a:cubicBezTo>
                  <a:cubicBezTo>
                    <a:pt x="141" y="86"/>
                    <a:pt x="142" y="86"/>
                    <a:pt x="142" y="86"/>
                  </a:cubicBezTo>
                  <a:cubicBezTo>
                    <a:pt x="143" y="86"/>
                    <a:pt x="144" y="86"/>
                    <a:pt x="144" y="86"/>
                  </a:cubicBezTo>
                  <a:cubicBezTo>
                    <a:pt x="145" y="86"/>
                    <a:pt x="145" y="86"/>
                    <a:pt x="145" y="86"/>
                  </a:cubicBezTo>
                  <a:cubicBezTo>
                    <a:pt x="146" y="86"/>
                    <a:pt x="146" y="87"/>
                    <a:pt x="146" y="87"/>
                  </a:cubicBezTo>
                  <a:cubicBezTo>
                    <a:pt x="147" y="87"/>
                    <a:pt x="147" y="87"/>
                    <a:pt x="148" y="87"/>
                  </a:cubicBezTo>
                  <a:cubicBezTo>
                    <a:pt x="148" y="87"/>
                    <a:pt x="149" y="87"/>
                    <a:pt x="149" y="87"/>
                  </a:cubicBezTo>
                  <a:cubicBezTo>
                    <a:pt x="150" y="87"/>
                    <a:pt x="151" y="87"/>
                    <a:pt x="151" y="88"/>
                  </a:cubicBezTo>
                  <a:cubicBezTo>
                    <a:pt x="152" y="88"/>
                    <a:pt x="152" y="88"/>
                    <a:pt x="153" y="88"/>
                  </a:cubicBezTo>
                  <a:cubicBezTo>
                    <a:pt x="153" y="88"/>
                    <a:pt x="153" y="88"/>
                    <a:pt x="153" y="88"/>
                  </a:cubicBezTo>
                  <a:cubicBezTo>
                    <a:pt x="154" y="88"/>
                    <a:pt x="154" y="88"/>
                    <a:pt x="155" y="88"/>
                  </a:cubicBezTo>
                  <a:cubicBezTo>
                    <a:pt x="155" y="88"/>
                    <a:pt x="156" y="88"/>
                    <a:pt x="157" y="88"/>
                  </a:cubicBezTo>
                  <a:cubicBezTo>
                    <a:pt x="157" y="88"/>
                    <a:pt x="158" y="88"/>
                    <a:pt x="158" y="88"/>
                  </a:cubicBezTo>
                  <a:cubicBezTo>
                    <a:pt x="159" y="88"/>
                    <a:pt x="159" y="88"/>
                    <a:pt x="160" y="89"/>
                  </a:cubicBezTo>
                  <a:cubicBezTo>
                    <a:pt x="160" y="89"/>
                    <a:pt x="160" y="89"/>
                    <a:pt x="160" y="89"/>
                  </a:cubicBezTo>
                  <a:cubicBezTo>
                    <a:pt x="161" y="89"/>
                    <a:pt x="161" y="89"/>
                    <a:pt x="162" y="89"/>
                  </a:cubicBezTo>
                  <a:cubicBezTo>
                    <a:pt x="163" y="89"/>
                    <a:pt x="163" y="89"/>
                    <a:pt x="164" y="89"/>
                  </a:cubicBezTo>
                  <a:cubicBezTo>
                    <a:pt x="164" y="89"/>
                    <a:pt x="165" y="89"/>
                    <a:pt x="166" y="89"/>
                  </a:cubicBezTo>
                  <a:cubicBezTo>
                    <a:pt x="166" y="89"/>
                    <a:pt x="167" y="89"/>
                    <a:pt x="167" y="89"/>
                  </a:cubicBezTo>
                  <a:cubicBezTo>
                    <a:pt x="167" y="89"/>
                    <a:pt x="167" y="89"/>
                    <a:pt x="167" y="89"/>
                  </a:cubicBezTo>
                  <a:cubicBezTo>
                    <a:pt x="168" y="89"/>
                    <a:pt x="169" y="89"/>
                    <a:pt x="169" y="89"/>
                  </a:cubicBezTo>
                  <a:cubicBezTo>
                    <a:pt x="170" y="89"/>
                    <a:pt x="171" y="89"/>
                    <a:pt x="171" y="89"/>
                  </a:cubicBezTo>
                  <a:cubicBezTo>
                    <a:pt x="172" y="89"/>
                    <a:pt x="172" y="89"/>
                    <a:pt x="173" y="89"/>
                  </a:cubicBezTo>
                  <a:cubicBezTo>
                    <a:pt x="174" y="89"/>
                    <a:pt x="174" y="89"/>
                    <a:pt x="175" y="89"/>
                  </a:cubicBezTo>
                  <a:cubicBezTo>
                    <a:pt x="175" y="89"/>
                    <a:pt x="175" y="89"/>
                    <a:pt x="175" y="89"/>
                  </a:cubicBezTo>
                  <a:cubicBezTo>
                    <a:pt x="176" y="89"/>
                    <a:pt x="177" y="89"/>
                    <a:pt x="178" y="89"/>
                  </a:cubicBezTo>
                  <a:cubicBezTo>
                    <a:pt x="178" y="89"/>
                    <a:pt x="178" y="89"/>
                    <a:pt x="179" y="89"/>
                  </a:cubicBezTo>
                  <a:cubicBezTo>
                    <a:pt x="180" y="89"/>
                    <a:pt x="181" y="88"/>
                    <a:pt x="182" y="88"/>
                  </a:cubicBezTo>
                  <a:cubicBezTo>
                    <a:pt x="182" y="88"/>
                    <a:pt x="183" y="88"/>
                    <a:pt x="183" y="88"/>
                  </a:cubicBezTo>
                  <a:cubicBezTo>
                    <a:pt x="183" y="88"/>
                    <a:pt x="183" y="88"/>
                    <a:pt x="183" y="88"/>
                  </a:cubicBezTo>
                  <a:cubicBezTo>
                    <a:pt x="184" y="88"/>
                    <a:pt x="186" y="88"/>
                    <a:pt x="187" y="88"/>
                  </a:cubicBezTo>
                  <a:cubicBezTo>
                    <a:pt x="187" y="88"/>
                    <a:pt x="188" y="88"/>
                    <a:pt x="188" y="88"/>
                  </a:cubicBezTo>
                  <a:cubicBezTo>
                    <a:pt x="189" y="87"/>
                    <a:pt x="190" y="87"/>
                    <a:pt x="191" y="87"/>
                  </a:cubicBezTo>
                  <a:cubicBezTo>
                    <a:pt x="192" y="87"/>
                    <a:pt x="192" y="87"/>
                    <a:pt x="192" y="87"/>
                  </a:cubicBezTo>
                  <a:cubicBezTo>
                    <a:pt x="192" y="87"/>
                    <a:pt x="192" y="87"/>
                    <a:pt x="192" y="87"/>
                  </a:cubicBezTo>
                  <a:cubicBezTo>
                    <a:pt x="193" y="87"/>
                    <a:pt x="194" y="87"/>
                    <a:pt x="194" y="87"/>
                  </a:cubicBezTo>
                  <a:cubicBezTo>
                    <a:pt x="195" y="86"/>
                    <a:pt x="195" y="86"/>
                    <a:pt x="196" y="86"/>
                  </a:cubicBezTo>
                  <a:cubicBezTo>
                    <a:pt x="197" y="86"/>
                    <a:pt x="197" y="86"/>
                    <a:pt x="198" y="86"/>
                  </a:cubicBezTo>
                  <a:cubicBezTo>
                    <a:pt x="198" y="86"/>
                    <a:pt x="199" y="86"/>
                    <a:pt x="199" y="85"/>
                  </a:cubicBezTo>
                  <a:cubicBezTo>
                    <a:pt x="200" y="85"/>
                    <a:pt x="201" y="85"/>
                    <a:pt x="201" y="85"/>
                  </a:cubicBezTo>
                  <a:cubicBezTo>
                    <a:pt x="202" y="85"/>
                    <a:pt x="202" y="85"/>
                    <a:pt x="203" y="85"/>
                  </a:cubicBezTo>
                  <a:cubicBezTo>
                    <a:pt x="203" y="84"/>
                    <a:pt x="204" y="84"/>
                    <a:pt x="204" y="84"/>
                  </a:cubicBezTo>
                  <a:cubicBezTo>
                    <a:pt x="205" y="84"/>
                    <a:pt x="205" y="84"/>
                    <a:pt x="206" y="84"/>
                  </a:cubicBezTo>
                  <a:cubicBezTo>
                    <a:pt x="206" y="84"/>
                    <a:pt x="206" y="84"/>
                    <a:pt x="206" y="84"/>
                  </a:cubicBezTo>
                  <a:cubicBezTo>
                    <a:pt x="207" y="83"/>
                    <a:pt x="209" y="83"/>
                    <a:pt x="210" y="82"/>
                  </a:cubicBezTo>
                  <a:cubicBezTo>
                    <a:pt x="210" y="82"/>
                    <a:pt x="211" y="82"/>
                    <a:pt x="211" y="82"/>
                  </a:cubicBezTo>
                  <a:cubicBezTo>
                    <a:pt x="212" y="81"/>
                    <a:pt x="213" y="81"/>
                    <a:pt x="214" y="80"/>
                  </a:cubicBezTo>
                  <a:cubicBezTo>
                    <a:pt x="214" y="80"/>
                    <a:pt x="215" y="80"/>
                    <a:pt x="215" y="80"/>
                  </a:cubicBezTo>
                  <a:cubicBezTo>
                    <a:pt x="216" y="80"/>
                    <a:pt x="217" y="79"/>
                    <a:pt x="219" y="78"/>
                  </a:cubicBezTo>
                  <a:cubicBezTo>
                    <a:pt x="219" y="78"/>
                    <a:pt x="219" y="78"/>
                    <a:pt x="219" y="78"/>
                  </a:cubicBezTo>
                  <a:cubicBezTo>
                    <a:pt x="220" y="77"/>
                    <a:pt x="221" y="77"/>
                    <a:pt x="222" y="76"/>
                  </a:cubicBezTo>
                  <a:cubicBezTo>
                    <a:pt x="222" y="76"/>
                    <a:pt x="223" y="76"/>
                    <a:pt x="223" y="76"/>
                  </a:cubicBezTo>
                  <a:cubicBezTo>
                    <a:pt x="223" y="76"/>
                    <a:pt x="224" y="76"/>
                    <a:pt x="224" y="75"/>
                  </a:cubicBezTo>
                  <a:cubicBezTo>
                    <a:pt x="225" y="75"/>
                    <a:pt x="225" y="74"/>
                    <a:pt x="226" y="74"/>
                  </a:cubicBezTo>
                  <a:cubicBezTo>
                    <a:pt x="226" y="74"/>
                    <a:pt x="227" y="73"/>
                    <a:pt x="227" y="73"/>
                  </a:cubicBezTo>
                  <a:cubicBezTo>
                    <a:pt x="227" y="73"/>
                    <a:pt x="228" y="73"/>
                    <a:pt x="228" y="72"/>
                  </a:cubicBezTo>
                  <a:cubicBezTo>
                    <a:pt x="229" y="72"/>
                    <a:pt x="229" y="72"/>
                    <a:pt x="229" y="72"/>
                  </a:cubicBezTo>
                  <a:cubicBezTo>
                    <a:pt x="230" y="71"/>
                    <a:pt x="230" y="71"/>
                    <a:pt x="230" y="71"/>
                  </a:cubicBezTo>
                  <a:cubicBezTo>
                    <a:pt x="231" y="70"/>
                    <a:pt x="231" y="70"/>
                    <a:pt x="231" y="70"/>
                  </a:cubicBezTo>
                  <a:cubicBezTo>
                    <a:pt x="231" y="70"/>
                    <a:pt x="232" y="69"/>
                    <a:pt x="232" y="69"/>
                  </a:cubicBezTo>
                  <a:cubicBezTo>
                    <a:pt x="232" y="69"/>
                    <a:pt x="232" y="69"/>
                    <a:pt x="232" y="69"/>
                  </a:cubicBezTo>
                  <a:cubicBezTo>
                    <a:pt x="233" y="68"/>
                    <a:pt x="234" y="68"/>
                    <a:pt x="234" y="67"/>
                  </a:cubicBezTo>
                  <a:cubicBezTo>
                    <a:pt x="234" y="67"/>
                    <a:pt x="235" y="67"/>
                    <a:pt x="235" y="66"/>
                  </a:cubicBezTo>
                  <a:cubicBezTo>
                    <a:pt x="235" y="66"/>
                    <a:pt x="236" y="65"/>
                    <a:pt x="236" y="65"/>
                  </a:cubicBezTo>
                  <a:cubicBezTo>
                    <a:pt x="236" y="65"/>
                    <a:pt x="236" y="64"/>
                    <a:pt x="237" y="64"/>
                  </a:cubicBezTo>
                  <a:cubicBezTo>
                    <a:pt x="237" y="64"/>
                    <a:pt x="237" y="64"/>
                    <a:pt x="237" y="64"/>
                  </a:cubicBezTo>
                  <a:cubicBezTo>
                    <a:pt x="237" y="64"/>
                    <a:pt x="237" y="63"/>
                    <a:pt x="238" y="63"/>
                  </a:cubicBezTo>
                  <a:cubicBezTo>
                    <a:pt x="238" y="62"/>
                    <a:pt x="238" y="62"/>
                    <a:pt x="238" y="62"/>
                  </a:cubicBezTo>
                  <a:cubicBezTo>
                    <a:pt x="239" y="61"/>
                    <a:pt x="239" y="61"/>
                    <a:pt x="240" y="60"/>
                  </a:cubicBezTo>
                  <a:cubicBezTo>
                    <a:pt x="240" y="60"/>
                    <a:pt x="240" y="60"/>
                    <a:pt x="240" y="60"/>
                  </a:cubicBezTo>
                  <a:cubicBezTo>
                    <a:pt x="240" y="60"/>
                    <a:pt x="240" y="60"/>
                    <a:pt x="240" y="60"/>
                  </a:cubicBezTo>
                  <a:cubicBezTo>
                    <a:pt x="240" y="59"/>
                    <a:pt x="240" y="58"/>
                    <a:pt x="241" y="58"/>
                  </a:cubicBezTo>
                  <a:cubicBezTo>
                    <a:pt x="241" y="58"/>
                    <a:pt x="241" y="57"/>
                    <a:pt x="241" y="57"/>
                  </a:cubicBezTo>
                  <a:cubicBezTo>
                    <a:pt x="241" y="57"/>
                    <a:pt x="241" y="56"/>
                    <a:pt x="241" y="56"/>
                  </a:cubicBezTo>
                  <a:cubicBezTo>
                    <a:pt x="241" y="56"/>
                    <a:pt x="241" y="56"/>
                    <a:pt x="241" y="56"/>
                  </a:cubicBezTo>
                  <a:cubicBezTo>
                    <a:pt x="242" y="56"/>
                    <a:pt x="242" y="55"/>
                    <a:pt x="242" y="55"/>
                  </a:cubicBezTo>
                  <a:cubicBezTo>
                    <a:pt x="242" y="55"/>
                    <a:pt x="242" y="54"/>
                    <a:pt x="242" y="54"/>
                  </a:cubicBezTo>
                  <a:cubicBezTo>
                    <a:pt x="242" y="54"/>
                    <a:pt x="242" y="53"/>
                    <a:pt x="242" y="53"/>
                  </a:cubicBezTo>
                  <a:cubicBezTo>
                    <a:pt x="242" y="53"/>
                    <a:pt x="243" y="52"/>
                    <a:pt x="243" y="52"/>
                  </a:cubicBezTo>
                  <a:cubicBezTo>
                    <a:pt x="243" y="52"/>
                    <a:pt x="243" y="52"/>
                    <a:pt x="243" y="52"/>
                  </a:cubicBezTo>
                  <a:cubicBezTo>
                    <a:pt x="243" y="51"/>
                    <a:pt x="243" y="51"/>
                    <a:pt x="243" y="51"/>
                  </a:cubicBezTo>
                  <a:cubicBezTo>
                    <a:pt x="243" y="51"/>
                    <a:pt x="243" y="50"/>
                    <a:pt x="243" y="50"/>
                  </a:cubicBezTo>
                  <a:cubicBezTo>
                    <a:pt x="243" y="50"/>
                    <a:pt x="243" y="49"/>
                    <a:pt x="243" y="49"/>
                  </a:cubicBezTo>
                  <a:cubicBezTo>
                    <a:pt x="243" y="49"/>
                    <a:pt x="243" y="48"/>
                    <a:pt x="243" y="48"/>
                  </a:cubicBezTo>
                  <a:cubicBezTo>
                    <a:pt x="243" y="48"/>
                    <a:pt x="243" y="47"/>
                    <a:pt x="243" y="47"/>
                  </a:cubicBezTo>
                  <a:cubicBezTo>
                    <a:pt x="243" y="47"/>
                    <a:pt x="243" y="47"/>
                    <a:pt x="243" y="47"/>
                  </a:cubicBezTo>
                  <a:cubicBezTo>
                    <a:pt x="243" y="0"/>
                    <a:pt x="243" y="0"/>
                    <a:pt x="243" y="0"/>
                  </a:cubicBezTo>
                  <a:cubicBezTo>
                    <a:pt x="243" y="0"/>
                    <a:pt x="243" y="1"/>
                    <a:pt x="243" y="1"/>
                  </a:cubicBezTo>
                  <a:close/>
                </a:path>
              </a:pathLst>
            </a:custGeom>
            <a:solidFill>
              <a:srgbClr val="BC60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13">
              <a:extLst>
                <a:ext uri="{FF2B5EF4-FFF2-40B4-BE49-F238E27FC236}">
                  <a16:creationId xmlns:a16="http://schemas.microsoft.com/office/drawing/2014/main" id="{1CB454D1-5EDA-41FB-9393-B13CCD462DF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3463" y="2794001"/>
              <a:ext cx="1695450" cy="1276350"/>
            </a:xfrm>
            <a:custGeom>
              <a:avLst/>
              <a:gdLst>
                <a:gd name="T0" fmla="*/ 1068 w 1068"/>
                <a:gd name="T1" fmla="*/ 617 h 804"/>
                <a:gd name="T2" fmla="*/ 1068 w 1068"/>
                <a:gd name="T3" fmla="*/ 804 h 804"/>
                <a:gd name="T4" fmla="*/ 0 w 1068"/>
                <a:gd name="T5" fmla="*/ 187 h 804"/>
                <a:gd name="T6" fmla="*/ 0 w 1068"/>
                <a:gd name="T7" fmla="*/ 0 h 804"/>
                <a:gd name="T8" fmla="*/ 1068 w 1068"/>
                <a:gd name="T9" fmla="*/ 617 h 8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68" h="804">
                  <a:moveTo>
                    <a:pt x="1068" y="617"/>
                  </a:moveTo>
                  <a:lnTo>
                    <a:pt x="1068" y="804"/>
                  </a:lnTo>
                  <a:lnTo>
                    <a:pt x="0" y="187"/>
                  </a:lnTo>
                  <a:lnTo>
                    <a:pt x="0" y="0"/>
                  </a:lnTo>
                  <a:lnTo>
                    <a:pt x="1068" y="617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4">
              <a:extLst>
                <a:ext uri="{FF2B5EF4-FFF2-40B4-BE49-F238E27FC236}">
                  <a16:creationId xmlns:a16="http://schemas.microsoft.com/office/drawing/2014/main" id="{60D0AA56-5EE4-4043-8053-5B8CF1701B03}"/>
                </a:ext>
              </a:extLst>
            </p:cNvPr>
            <p:cNvSpPr>
              <a:spLocks/>
            </p:cNvSpPr>
            <p:nvPr/>
          </p:nvSpPr>
          <p:spPr bwMode="auto">
            <a:xfrm>
              <a:off x="5591176" y="3148013"/>
              <a:ext cx="360363" cy="600075"/>
            </a:xfrm>
            <a:custGeom>
              <a:avLst/>
              <a:gdLst>
                <a:gd name="T0" fmla="*/ 57 w 57"/>
                <a:gd name="T1" fmla="*/ 4 h 95"/>
                <a:gd name="T2" fmla="*/ 56 w 57"/>
                <a:gd name="T3" fmla="*/ 7 h 95"/>
                <a:gd name="T4" fmla="*/ 55 w 57"/>
                <a:gd name="T5" fmla="*/ 10 h 95"/>
                <a:gd name="T6" fmla="*/ 54 w 57"/>
                <a:gd name="T7" fmla="*/ 13 h 95"/>
                <a:gd name="T8" fmla="*/ 52 w 57"/>
                <a:gd name="T9" fmla="*/ 16 h 95"/>
                <a:gd name="T10" fmla="*/ 49 w 57"/>
                <a:gd name="T11" fmla="*/ 20 h 95"/>
                <a:gd name="T12" fmla="*/ 46 w 57"/>
                <a:gd name="T13" fmla="*/ 23 h 95"/>
                <a:gd name="T14" fmla="*/ 42 w 57"/>
                <a:gd name="T15" fmla="*/ 26 h 95"/>
                <a:gd name="T16" fmla="*/ 39 w 57"/>
                <a:gd name="T17" fmla="*/ 28 h 95"/>
                <a:gd name="T18" fmla="*/ 32 w 57"/>
                <a:gd name="T19" fmla="*/ 32 h 95"/>
                <a:gd name="T20" fmla="*/ 28 w 57"/>
                <a:gd name="T21" fmla="*/ 34 h 95"/>
                <a:gd name="T22" fmla="*/ 20 w 57"/>
                <a:gd name="T23" fmla="*/ 37 h 95"/>
                <a:gd name="T24" fmla="*/ 14 w 57"/>
                <a:gd name="T25" fmla="*/ 39 h 95"/>
                <a:gd name="T26" fmla="*/ 8 w 57"/>
                <a:gd name="T27" fmla="*/ 41 h 95"/>
                <a:gd name="T28" fmla="*/ 6 w 57"/>
                <a:gd name="T29" fmla="*/ 41 h 95"/>
                <a:gd name="T30" fmla="*/ 5 w 57"/>
                <a:gd name="T31" fmla="*/ 42 h 95"/>
                <a:gd name="T32" fmla="*/ 3 w 57"/>
                <a:gd name="T33" fmla="*/ 43 h 95"/>
                <a:gd name="T34" fmla="*/ 2 w 57"/>
                <a:gd name="T35" fmla="*/ 45 h 95"/>
                <a:gd name="T36" fmla="*/ 1 w 57"/>
                <a:gd name="T37" fmla="*/ 45 h 95"/>
                <a:gd name="T38" fmla="*/ 1 w 57"/>
                <a:gd name="T39" fmla="*/ 46 h 95"/>
                <a:gd name="T40" fmla="*/ 1 w 57"/>
                <a:gd name="T41" fmla="*/ 47 h 95"/>
                <a:gd name="T42" fmla="*/ 0 w 57"/>
                <a:gd name="T43" fmla="*/ 48 h 95"/>
                <a:gd name="T44" fmla="*/ 0 w 57"/>
                <a:gd name="T45" fmla="*/ 95 h 95"/>
                <a:gd name="T46" fmla="*/ 0 w 57"/>
                <a:gd name="T47" fmla="*/ 94 h 95"/>
                <a:gd name="T48" fmla="*/ 1 w 57"/>
                <a:gd name="T49" fmla="*/ 92 h 95"/>
                <a:gd name="T50" fmla="*/ 2 w 57"/>
                <a:gd name="T51" fmla="*/ 91 h 95"/>
                <a:gd name="T52" fmla="*/ 4 w 57"/>
                <a:gd name="T53" fmla="*/ 90 h 95"/>
                <a:gd name="T54" fmla="*/ 5 w 57"/>
                <a:gd name="T55" fmla="*/ 89 h 95"/>
                <a:gd name="T56" fmla="*/ 8 w 57"/>
                <a:gd name="T57" fmla="*/ 87 h 95"/>
                <a:gd name="T58" fmla="*/ 14 w 57"/>
                <a:gd name="T59" fmla="*/ 86 h 95"/>
                <a:gd name="T60" fmla="*/ 19 w 57"/>
                <a:gd name="T61" fmla="*/ 84 h 95"/>
                <a:gd name="T62" fmla="*/ 24 w 57"/>
                <a:gd name="T63" fmla="*/ 83 h 95"/>
                <a:gd name="T64" fmla="*/ 31 w 57"/>
                <a:gd name="T65" fmla="*/ 80 h 95"/>
                <a:gd name="T66" fmla="*/ 37 w 57"/>
                <a:gd name="T67" fmla="*/ 77 h 95"/>
                <a:gd name="T68" fmla="*/ 40 w 57"/>
                <a:gd name="T69" fmla="*/ 74 h 95"/>
                <a:gd name="T70" fmla="*/ 43 w 57"/>
                <a:gd name="T71" fmla="*/ 72 h 95"/>
                <a:gd name="T72" fmla="*/ 46 w 57"/>
                <a:gd name="T73" fmla="*/ 70 h 95"/>
                <a:gd name="T74" fmla="*/ 49 w 57"/>
                <a:gd name="T75" fmla="*/ 67 h 95"/>
                <a:gd name="T76" fmla="*/ 51 w 57"/>
                <a:gd name="T77" fmla="*/ 64 h 95"/>
                <a:gd name="T78" fmla="*/ 53 w 57"/>
                <a:gd name="T79" fmla="*/ 61 h 95"/>
                <a:gd name="T80" fmla="*/ 54 w 57"/>
                <a:gd name="T81" fmla="*/ 59 h 95"/>
                <a:gd name="T82" fmla="*/ 55 w 57"/>
                <a:gd name="T83" fmla="*/ 56 h 95"/>
                <a:gd name="T84" fmla="*/ 56 w 57"/>
                <a:gd name="T85" fmla="*/ 54 h 95"/>
                <a:gd name="T86" fmla="*/ 57 w 57"/>
                <a:gd name="T87" fmla="*/ 52 h 95"/>
                <a:gd name="T88" fmla="*/ 57 w 57"/>
                <a:gd name="T89" fmla="*/ 49 h 95"/>
                <a:gd name="T90" fmla="*/ 57 w 57"/>
                <a:gd name="T91" fmla="*/ 0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57" h="95">
                  <a:moveTo>
                    <a:pt x="57" y="2"/>
                  </a:moveTo>
                  <a:cubicBezTo>
                    <a:pt x="57" y="2"/>
                    <a:pt x="57" y="2"/>
                    <a:pt x="57" y="3"/>
                  </a:cubicBezTo>
                  <a:cubicBezTo>
                    <a:pt x="57" y="3"/>
                    <a:pt x="57" y="3"/>
                    <a:pt x="57" y="4"/>
                  </a:cubicBezTo>
                  <a:cubicBezTo>
                    <a:pt x="57" y="4"/>
                    <a:pt x="57" y="5"/>
                    <a:pt x="57" y="5"/>
                  </a:cubicBezTo>
                  <a:cubicBezTo>
                    <a:pt x="57" y="5"/>
                    <a:pt x="57" y="6"/>
                    <a:pt x="57" y="6"/>
                  </a:cubicBezTo>
                  <a:cubicBezTo>
                    <a:pt x="56" y="6"/>
                    <a:pt x="56" y="7"/>
                    <a:pt x="56" y="7"/>
                  </a:cubicBezTo>
                  <a:cubicBezTo>
                    <a:pt x="56" y="7"/>
                    <a:pt x="56" y="8"/>
                    <a:pt x="56" y="8"/>
                  </a:cubicBezTo>
                  <a:cubicBezTo>
                    <a:pt x="56" y="8"/>
                    <a:pt x="56" y="9"/>
                    <a:pt x="56" y="9"/>
                  </a:cubicBezTo>
                  <a:cubicBezTo>
                    <a:pt x="56" y="9"/>
                    <a:pt x="55" y="10"/>
                    <a:pt x="55" y="10"/>
                  </a:cubicBezTo>
                  <a:cubicBezTo>
                    <a:pt x="55" y="10"/>
                    <a:pt x="55" y="11"/>
                    <a:pt x="55" y="11"/>
                  </a:cubicBezTo>
                  <a:cubicBezTo>
                    <a:pt x="55" y="11"/>
                    <a:pt x="55" y="12"/>
                    <a:pt x="54" y="12"/>
                  </a:cubicBezTo>
                  <a:cubicBezTo>
                    <a:pt x="54" y="12"/>
                    <a:pt x="54" y="13"/>
                    <a:pt x="54" y="13"/>
                  </a:cubicBezTo>
                  <a:cubicBezTo>
                    <a:pt x="54" y="13"/>
                    <a:pt x="54" y="14"/>
                    <a:pt x="53" y="14"/>
                  </a:cubicBezTo>
                  <a:cubicBezTo>
                    <a:pt x="53" y="14"/>
                    <a:pt x="53" y="15"/>
                    <a:pt x="53" y="15"/>
                  </a:cubicBezTo>
                  <a:cubicBezTo>
                    <a:pt x="52" y="16"/>
                    <a:pt x="52" y="16"/>
                    <a:pt x="52" y="16"/>
                  </a:cubicBezTo>
                  <a:cubicBezTo>
                    <a:pt x="52" y="17"/>
                    <a:pt x="51" y="17"/>
                    <a:pt x="51" y="17"/>
                  </a:cubicBezTo>
                  <a:cubicBezTo>
                    <a:pt x="51" y="18"/>
                    <a:pt x="51" y="18"/>
                    <a:pt x="51" y="18"/>
                  </a:cubicBezTo>
                  <a:cubicBezTo>
                    <a:pt x="50" y="19"/>
                    <a:pt x="49" y="20"/>
                    <a:pt x="49" y="20"/>
                  </a:cubicBezTo>
                  <a:cubicBezTo>
                    <a:pt x="48" y="20"/>
                    <a:pt x="48" y="21"/>
                    <a:pt x="48" y="21"/>
                  </a:cubicBezTo>
                  <a:cubicBezTo>
                    <a:pt x="48" y="21"/>
                    <a:pt x="47" y="22"/>
                    <a:pt x="46" y="23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4"/>
                    <a:pt x="44" y="25"/>
                    <a:pt x="44" y="25"/>
                  </a:cubicBezTo>
                  <a:cubicBezTo>
                    <a:pt x="43" y="25"/>
                    <a:pt x="43" y="26"/>
                    <a:pt x="42" y="26"/>
                  </a:cubicBezTo>
                  <a:cubicBezTo>
                    <a:pt x="42" y="26"/>
                    <a:pt x="42" y="26"/>
                    <a:pt x="41" y="27"/>
                  </a:cubicBezTo>
                  <a:cubicBezTo>
                    <a:pt x="41" y="27"/>
                    <a:pt x="41" y="27"/>
                    <a:pt x="40" y="28"/>
                  </a:cubicBezTo>
                  <a:cubicBezTo>
                    <a:pt x="40" y="28"/>
                    <a:pt x="39" y="28"/>
                    <a:pt x="39" y="28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7" y="30"/>
                    <a:pt x="36" y="30"/>
                    <a:pt x="36" y="30"/>
                  </a:cubicBezTo>
                  <a:cubicBezTo>
                    <a:pt x="35" y="31"/>
                    <a:pt x="34" y="32"/>
                    <a:pt x="32" y="32"/>
                  </a:cubicBezTo>
                  <a:cubicBezTo>
                    <a:pt x="32" y="32"/>
                    <a:pt x="32" y="33"/>
                    <a:pt x="31" y="33"/>
                  </a:cubicBezTo>
                  <a:cubicBezTo>
                    <a:pt x="30" y="33"/>
                    <a:pt x="30" y="34"/>
                    <a:pt x="29" y="34"/>
                  </a:cubicBezTo>
                  <a:cubicBezTo>
                    <a:pt x="28" y="34"/>
                    <a:pt x="28" y="34"/>
                    <a:pt x="28" y="34"/>
                  </a:cubicBezTo>
                  <a:cubicBezTo>
                    <a:pt x="26" y="35"/>
                    <a:pt x="25" y="35"/>
                    <a:pt x="24" y="36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3" y="36"/>
                    <a:pt x="21" y="37"/>
                    <a:pt x="20" y="37"/>
                  </a:cubicBezTo>
                  <a:cubicBezTo>
                    <a:pt x="20" y="37"/>
                    <a:pt x="19" y="38"/>
                    <a:pt x="19" y="38"/>
                  </a:cubicBezTo>
                  <a:cubicBezTo>
                    <a:pt x="18" y="38"/>
                    <a:pt x="17" y="38"/>
                    <a:pt x="16" y="39"/>
                  </a:cubicBezTo>
                  <a:cubicBezTo>
                    <a:pt x="15" y="39"/>
                    <a:pt x="15" y="39"/>
                    <a:pt x="14" y="39"/>
                  </a:cubicBezTo>
                  <a:cubicBezTo>
                    <a:pt x="13" y="39"/>
                    <a:pt x="12" y="40"/>
                    <a:pt x="10" y="40"/>
                  </a:cubicBezTo>
                  <a:cubicBezTo>
                    <a:pt x="10" y="40"/>
                    <a:pt x="9" y="40"/>
                    <a:pt x="8" y="40"/>
                  </a:cubicBezTo>
                  <a:cubicBezTo>
                    <a:pt x="8" y="40"/>
                    <a:pt x="8" y="41"/>
                    <a:pt x="8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8" y="41"/>
                    <a:pt x="7" y="41"/>
                    <a:pt x="6" y="41"/>
                  </a:cubicBezTo>
                  <a:cubicBezTo>
                    <a:pt x="6" y="41"/>
                    <a:pt x="6" y="41"/>
                    <a:pt x="6" y="41"/>
                  </a:cubicBezTo>
                  <a:cubicBezTo>
                    <a:pt x="6" y="41"/>
                    <a:pt x="5" y="42"/>
                    <a:pt x="5" y="42"/>
                  </a:cubicBezTo>
                  <a:cubicBezTo>
                    <a:pt x="5" y="42"/>
                    <a:pt x="5" y="42"/>
                    <a:pt x="5" y="42"/>
                  </a:cubicBezTo>
                  <a:cubicBezTo>
                    <a:pt x="5" y="42"/>
                    <a:pt x="5" y="42"/>
                    <a:pt x="5" y="42"/>
                  </a:cubicBezTo>
                  <a:cubicBezTo>
                    <a:pt x="4" y="42"/>
                    <a:pt x="4" y="42"/>
                    <a:pt x="4" y="43"/>
                  </a:cubicBezTo>
                  <a:cubicBezTo>
                    <a:pt x="4" y="43"/>
                    <a:pt x="4" y="43"/>
                    <a:pt x="4" y="43"/>
                  </a:cubicBezTo>
                  <a:cubicBezTo>
                    <a:pt x="3" y="43"/>
                    <a:pt x="3" y="43"/>
                    <a:pt x="3" y="43"/>
                  </a:cubicBezTo>
                  <a:cubicBezTo>
                    <a:pt x="3" y="43"/>
                    <a:pt x="3" y="43"/>
                    <a:pt x="3" y="43"/>
                  </a:cubicBezTo>
                  <a:cubicBezTo>
                    <a:pt x="3" y="44"/>
                    <a:pt x="3" y="44"/>
                    <a:pt x="3" y="44"/>
                  </a:cubicBezTo>
                  <a:cubicBezTo>
                    <a:pt x="2" y="44"/>
                    <a:pt x="2" y="44"/>
                    <a:pt x="2" y="45"/>
                  </a:cubicBezTo>
                  <a:cubicBezTo>
                    <a:pt x="2" y="45"/>
                    <a:pt x="2" y="45"/>
                    <a:pt x="2" y="45"/>
                  </a:cubicBezTo>
                  <a:cubicBezTo>
                    <a:pt x="2" y="45"/>
                    <a:pt x="2" y="45"/>
                    <a:pt x="2" y="45"/>
                  </a:cubicBezTo>
                  <a:cubicBezTo>
                    <a:pt x="2" y="45"/>
                    <a:pt x="1" y="45"/>
                    <a:pt x="1" y="45"/>
                  </a:cubicBezTo>
                  <a:cubicBezTo>
                    <a:pt x="1" y="45"/>
                    <a:pt x="1" y="45"/>
                    <a:pt x="1" y="45"/>
                  </a:cubicBezTo>
                  <a:cubicBezTo>
                    <a:pt x="1" y="46"/>
                    <a:pt x="1" y="46"/>
                    <a:pt x="1" y="46"/>
                  </a:cubicBezTo>
                  <a:cubicBezTo>
                    <a:pt x="1" y="46"/>
                    <a:pt x="1" y="46"/>
                    <a:pt x="1" y="46"/>
                  </a:cubicBezTo>
                  <a:cubicBezTo>
                    <a:pt x="1" y="46"/>
                    <a:pt x="1" y="46"/>
                    <a:pt x="1" y="46"/>
                  </a:cubicBezTo>
                  <a:cubicBezTo>
                    <a:pt x="1" y="46"/>
                    <a:pt x="1" y="46"/>
                    <a:pt x="1" y="46"/>
                  </a:cubicBezTo>
                  <a:cubicBezTo>
                    <a:pt x="1" y="47"/>
                    <a:pt x="1" y="47"/>
                    <a:pt x="1" y="47"/>
                  </a:cubicBezTo>
                  <a:cubicBezTo>
                    <a:pt x="1" y="47"/>
                    <a:pt x="1" y="47"/>
                    <a:pt x="1" y="47"/>
                  </a:cubicBezTo>
                  <a:cubicBezTo>
                    <a:pt x="1" y="47"/>
                    <a:pt x="1" y="47"/>
                    <a:pt x="1" y="47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0" y="95"/>
                    <a:pt x="0" y="94"/>
                    <a:pt x="0" y="94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4"/>
                    <a:pt x="1" y="94"/>
                    <a:pt x="1" y="93"/>
                  </a:cubicBezTo>
                  <a:cubicBezTo>
                    <a:pt x="1" y="93"/>
                    <a:pt x="1" y="93"/>
                    <a:pt x="1" y="93"/>
                  </a:cubicBezTo>
                  <a:cubicBezTo>
                    <a:pt x="1" y="93"/>
                    <a:pt x="1" y="93"/>
                    <a:pt x="1" y="92"/>
                  </a:cubicBezTo>
                  <a:cubicBezTo>
                    <a:pt x="1" y="92"/>
                    <a:pt x="1" y="92"/>
                    <a:pt x="1" y="92"/>
                  </a:cubicBezTo>
                  <a:cubicBezTo>
                    <a:pt x="1" y="92"/>
                    <a:pt x="1" y="92"/>
                    <a:pt x="2" y="91"/>
                  </a:cubicBezTo>
                  <a:cubicBezTo>
                    <a:pt x="2" y="91"/>
                    <a:pt x="2" y="91"/>
                    <a:pt x="2" y="91"/>
                  </a:cubicBezTo>
                  <a:cubicBezTo>
                    <a:pt x="2" y="91"/>
                    <a:pt x="2" y="91"/>
                    <a:pt x="3" y="90"/>
                  </a:cubicBezTo>
                  <a:cubicBezTo>
                    <a:pt x="3" y="90"/>
                    <a:pt x="3" y="90"/>
                    <a:pt x="3" y="90"/>
                  </a:cubicBezTo>
                  <a:cubicBezTo>
                    <a:pt x="3" y="90"/>
                    <a:pt x="3" y="90"/>
                    <a:pt x="4" y="90"/>
                  </a:cubicBezTo>
                  <a:cubicBezTo>
                    <a:pt x="4" y="90"/>
                    <a:pt x="4" y="90"/>
                    <a:pt x="4" y="90"/>
                  </a:cubicBezTo>
                  <a:cubicBezTo>
                    <a:pt x="4" y="89"/>
                    <a:pt x="4" y="89"/>
                    <a:pt x="4" y="89"/>
                  </a:cubicBezTo>
                  <a:cubicBezTo>
                    <a:pt x="5" y="89"/>
                    <a:pt x="5" y="89"/>
                    <a:pt x="5" y="89"/>
                  </a:cubicBezTo>
                  <a:cubicBezTo>
                    <a:pt x="5" y="89"/>
                    <a:pt x="6" y="88"/>
                    <a:pt x="6" y="88"/>
                  </a:cubicBezTo>
                  <a:cubicBezTo>
                    <a:pt x="6" y="88"/>
                    <a:pt x="6" y="88"/>
                    <a:pt x="6" y="88"/>
                  </a:cubicBezTo>
                  <a:cubicBezTo>
                    <a:pt x="7" y="88"/>
                    <a:pt x="7" y="88"/>
                    <a:pt x="8" y="87"/>
                  </a:cubicBezTo>
                  <a:cubicBezTo>
                    <a:pt x="8" y="87"/>
                    <a:pt x="8" y="87"/>
                    <a:pt x="8" y="87"/>
                  </a:cubicBezTo>
                  <a:cubicBezTo>
                    <a:pt x="9" y="87"/>
                    <a:pt x="9" y="87"/>
                    <a:pt x="10" y="87"/>
                  </a:cubicBezTo>
                  <a:cubicBezTo>
                    <a:pt x="12" y="86"/>
                    <a:pt x="13" y="86"/>
                    <a:pt x="14" y="86"/>
                  </a:cubicBezTo>
                  <a:cubicBezTo>
                    <a:pt x="15" y="86"/>
                    <a:pt x="15" y="86"/>
                    <a:pt x="16" y="85"/>
                  </a:cubicBezTo>
                  <a:cubicBezTo>
                    <a:pt x="17" y="85"/>
                    <a:pt x="18" y="85"/>
                    <a:pt x="19" y="85"/>
                  </a:cubicBezTo>
                  <a:cubicBezTo>
                    <a:pt x="19" y="84"/>
                    <a:pt x="19" y="84"/>
                    <a:pt x="19" y="84"/>
                  </a:cubicBezTo>
                  <a:cubicBezTo>
                    <a:pt x="20" y="84"/>
                    <a:pt x="20" y="84"/>
                    <a:pt x="20" y="84"/>
                  </a:cubicBezTo>
                  <a:cubicBezTo>
                    <a:pt x="21" y="84"/>
                    <a:pt x="22" y="83"/>
                    <a:pt x="24" y="83"/>
                  </a:cubicBezTo>
                  <a:cubicBezTo>
                    <a:pt x="24" y="83"/>
                    <a:pt x="24" y="83"/>
                    <a:pt x="24" y="83"/>
                  </a:cubicBezTo>
                  <a:cubicBezTo>
                    <a:pt x="25" y="82"/>
                    <a:pt x="26" y="82"/>
                    <a:pt x="27" y="81"/>
                  </a:cubicBezTo>
                  <a:cubicBezTo>
                    <a:pt x="28" y="81"/>
                    <a:pt x="28" y="81"/>
                    <a:pt x="29" y="81"/>
                  </a:cubicBezTo>
                  <a:cubicBezTo>
                    <a:pt x="29" y="80"/>
                    <a:pt x="30" y="80"/>
                    <a:pt x="31" y="80"/>
                  </a:cubicBezTo>
                  <a:cubicBezTo>
                    <a:pt x="32" y="79"/>
                    <a:pt x="32" y="79"/>
                    <a:pt x="32" y="79"/>
                  </a:cubicBezTo>
                  <a:cubicBezTo>
                    <a:pt x="33" y="78"/>
                    <a:pt x="35" y="78"/>
                    <a:pt x="36" y="77"/>
                  </a:cubicBezTo>
                  <a:cubicBezTo>
                    <a:pt x="36" y="77"/>
                    <a:pt x="36" y="77"/>
                    <a:pt x="37" y="77"/>
                  </a:cubicBezTo>
                  <a:cubicBezTo>
                    <a:pt x="37" y="76"/>
                    <a:pt x="37" y="76"/>
                    <a:pt x="37" y="76"/>
                  </a:cubicBezTo>
                  <a:cubicBezTo>
                    <a:pt x="38" y="76"/>
                    <a:pt x="38" y="76"/>
                    <a:pt x="39" y="75"/>
                  </a:cubicBezTo>
                  <a:cubicBezTo>
                    <a:pt x="39" y="75"/>
                    <a:pt x="40" y="75"/>
                    <a:pt x="40" y="74"/>
                  </a:cubicBezTo>
                  <a:cubicBezTo>
                    <a:pt x="40" y="74"/>
                    <a:pt x="41" y="74"/>
                    <a:pt x="41" y="74"/>
                  </a:cubicBezTo>
                  <a:cubicBezTo>
                    <a:pt x="42" y="73"/>
                    <a:pt x="42" y="73"/>
                    <a:pt x="42" y="73"/>
                  </a:cubicBezTo>
                  <a:cubicBezTo>
                    <a:pt x="43" y="72"/>
                    <a:pt x="43" y="72"/>
                    <a:pt x="43" y="72"/>
                  </a:cubicBezTo>
                  <a:cubicBezTo>
                    <a:pt x="44" y="72"/>
                    <a:pt x="44" y="71"/>
                    <a:pt x="44" y="71"/>
                  </a:cubicBezTo>
                  <a:cubicBezTo>
                    <a:pt x="45" y="71"/>
                    <a:pt x="45" y="70"/>
                    <a:pt x="46" y="70"/>
                  </a:cubicBezTo>
                  <a:cubicBezTo>
                    <a:pt x="46" y="70"/>
                    <a:pt x="46" y="70"/>
                    <a:pt x="46" y="70"/>
                  </a:cubicBezTo>
                  <a:cubicBezTo>
                    <a:pt x="46" y="70"/>
                    <a:pt x="46" y="69"/>
                    <a:pt x="46" y="69"/>
                  </a:cubicBezTo>
                  <a:cubicBezTo>
                    <a:pt x="47" y="69"/>
                    <a:pt x="47" y="68"/>
                    <a:pt x="48" y="68"/>
                  </a:cubicBezTo>
                  <a:cubicBezTo>
                    <a:pt x="48" y="68"/>
                    <a:pt x="48" y="67"/>
                    <a:pt x="49" y="67"/>
                  </a:cubicBezTo>
                  <a:cubicBezTo>
                    <a:pt x="49" y="66"/>
                    <a:pt x="50" y="66"/>
                    <a:pt x="50" y="65"/>
                  </a:cubicBezTo>
                  <a:cubicBezTo>
                    <a:pt x="50" y="65"/>
                    <a:pt x="50" y="65"/>
                    <a:pt x="50" y="65"/>
                  </a:cubicBezTo>
                  <a:cubicBezTo>
                    <a:pt x="51" y="65"/>
                    <a:pt x="51" y="64"/>
                    <a:pt x="51" y="64"/>
                  </a:cubicBezTo>
                  <a:cubicBezTo>
                    <a:pt x="51" y="64"/>
                    <a:pt x="52" y="63"/>
                    <a:pt x="52" y="63"/>
                  </a:cubicBezTo>
                  <a:cubicBezTo>
                    <a:pt x="52" y="63"/>
                    <a:pt x="52" y="62"/>
                    <a:pt x="52" y="62"/>
                  </a:cubicBezTo>
                  <a:cubicBezTo>
                    <a:pt x="53" y="62"/>
                    <a:pt x="53" y="61"/>
                    <a:pt x="53" y="61"/>
                  </a:cubicBezTo>
                  <a:cubicBezTo>
                    <a:pt x="53" y="61"/>
                    <a:pt x="53" y="61"/>
                    <a:pt x="53" y="60"/>
                  </a:cubicBezTo>
                  <a:cubicBezTo>
                    <a:pt x="54" y="60"/>
                    <a:pt x="54" y="60"/>
                    <a:pt x="54" y="60"/>
                  </a:cubicBezTo>
                  <a:cubicBezTo>
                    <a:pt x="54" y="60"/>
                    <a:pt x="54" y="59"/>
                    <a:pt x="54" y="59"/>
                  </a:cubicBezTo>
                  <a:cubicBezTo>
                    <a:pt x="54" y="59"/>
                    <a:pt x="55" y="58"/>
                    <a:pt x="55" y="58"/>
                  </a:cubicBezTo>
                  <a:cubicBezTo>
                    <a:pt x="55" y="58"/>
                    <a:pt x="55" y="57"/>
                    <a:pt x="55" y="57"/>
                  </a:cubicBezTo>
                  <a:cubicBezTo>
                    <a:pt x="55" y="57"/>
                    <a:pt x="55" y="56"/>
                    <a:pt x="55" y="56"/>
                  </a:cubicBezTo>
                  <a:cubicBezTo>
                    <a:pt x="55" y="56"/>
                    <a:pt x="55" y="56"/>
                    <a:pt x="56" y="56"/>
                  </a:cubicBezTo>
                  <a:cubicBezTo>
                    <a:pt x="56" y="55"/>
                    <a:pt x="56" y="55"/>
                    <a:pt x="56" y="55"/>
                  </a:cubicBezTo>
                  <a:cubicBezTo>
                    <a:pt x="56" y="54"/>
                    <a:pt x="56" y="54"/>
                    <a:pt x="56" y="54"/>
                  </a:cubicBezTo>
                  <a:cubicBezTo>
                    <a:pt x="56" y="53"/>
                    <a:pt x="56" y="53"/>
                    <a:pt x="56" y="53"/>
                  </a:cubicBezTo>
                  <a:cubicBezTo>
                    <a:pt x="56" y="53"/>
                    <a:pt x="57" y="52"/>
                    <a:pt x="57" y="52"/>
                  </a:cubicBezTo>
                  <a:cubicBezTo>
                    <a:pt x="57" y="52"/>
                    <a:pt x="57" y="52"/>
                    <a:pt x="57" y="52"/>
                  </a:cubicBezTo>
                  <a:cubicBezTo>
                    <a:pt x="57" y="51"/>
                    <a:pt x="57" y="51"/>
                    <a:pt x="57" y="51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7" y="49"/>
                    <a:pt x="57" y="49"/>
                    <a:pt x="57" y="49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57" y="48"/>
                    <a:pt x="57" y="48"/>
                    <a:pt x="57" y="47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7" y="1"/>
                    <a:pt x="57" y="1"/>
                    <a:pt x="57" y="2"/>
                  </a:cubicBezTo>
                  <a:close/>
                </a:path>
              </a:pathLst>
            </a:custGeom>
            <a:solidFill>
              <a:srgbClr val="3E3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5">
              <a:extLst>
                <a:ext uri="{FF2B5EF4-FFF2-40B4-BE49-F238E27FC236}">
                  <a16:creationId xmlns:a16="http://schemas.microsoft.com/office/drawing/2014/main" id="{185ABE75-231E-4A1E-ADE3-31A2F499D71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28913" y="2794001"/>
              <a:ext cx="3379788" cy="1958975"/>
            </a:xfrm>
            <a:custGeom>
              <a:avLst/>
              <a:gdLst>
                <a:gd name="T0" fmla="*/ 490 w 536"/>
                <a:gd name="T1" fmla="*/ 26 h 310"/>
                <a:gd name="T2" fmla="*/ 490 w 536"/>
                <a:gd name="T3" fmla="*/ 86 h 310"/>
                <a:gd name="T4" fmla="*/ 464 w 536"/>
                <a:gd name="T5" fmla="*/ 96 h 310"/>
                <a:gd name="T6" fmla="*/ 459 w 536"/>
                <a:gd name="T7" fmla="*/ 111 h 310"/>
                <a:gd name="T8" fmla="*/ 536 w 536"/>
                <a:gd name="T9" fmla="*/ 155 h 310"/>
                <a:gd name="T10" fmla="*/ 269 w 536"/>
                <a:gd name="T11" fmla="*/ 310 h 310"/>
                <a:gd name="T12" fmla="*/ 0 w 536"/>
                <a:gd name="T13" fmla="*/ 155 h 310"/>
                <a:gd name="T14" fmla="*/ 77 w 536"/>
                <a:gd name="T15" fmla="*/ 110 h 310"/>
                <a:gd name="T16" fmla="*/ 98 w 536"/>
                <a:gd name="T17" fmla="*/ 111 h 310"/>
                <a:gd name="T18" fmla="*/ 102 w 536"/>
                <a:gd name="T19" fmla="*/ 114 h 310"/>
                <a:gd name="T20" fmla="*/ 118 w 536"/>
                <a:gd name="T21" fmla="*/ 129 h 310"/>
                <a:gd name="T22" fmla="*/ 224 w 536"/>
                <a:gd name="T23" fmla="*/ 127 h 310"/>
                <a:gd name="T24" fmla="*/ 224 w 536"/>
                <a:gd name="T25" fmla="*/ 70 h 310"/>
                <a:gd name="T26" fmla="*/ 222 w 536"/>
                <a:gd name="T27" fmla="*/ 69 h 310"/>
                <a:gd name="T28" fmla="*/ 196 w 536"/>
                <a:gd name="T29" fmla="*/ 59 h 310"/>
                <a:gd name="T30" fmla="*/ 191 w 536"/>
                <a:gd name="T31" fmla="*/ 57 h 310"/>
                <a:gd name="T32" fmla="*/ 190 w 536"/>
                <a:gd name="T33" fmla="*/ 45 h 310"/>
                <a:gd name="T34" fmla="*/ 267 w 536"/>
                <a:gd name="T35" fmla="*/ 0 h 310"/>
                <a:gd name="T36" fmla="*/ 344 w 536"/>
                <a:gd name="T37" fmla="*/ 44 h 310"/>
                <a:gd name="T38" fmla="*/ 369 w 536"/>
                <a:gd name="T39" fmla="*/ 41 h 310"/>
                <a:gd name="T40" fmla="*/ 389 w 536"/>
                <a:gd name="T41" fmla="*/ 25 h 310"/>
                <a:gd name="T42" fmla="*/ 487 w 536"/>
                <a:gd name="T43" fmla="*/ 25 h 310"/>
                <a:gd name="T44" fmla="*/ 490 w 536"/>
                <a:gd name="T45" fmla="*/ 26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36" h="310">
                  <a:moveTo>
                    <a:pt x="490" y="26"/>
                  </a:moveTo>
                  <a:cubicBezTo>
                    <a:pt x="518" y="43"/>
                    <a:pt x="518" y="70"/>
                    <a:pt x="490" y="86"/>
                  </a:cubicBezTo>
                  <a:cubicBezTo>
                    <a:pt x="482" y="91"/>
                    <a:pt x="474" y="94"/>
                    <a:pt x="464" y="96"/>
                  </a:cubicBezTo>
                  <a:cubicBezTo>
                    <a:pt x="454" y="98"/>
                    <a:pt x="451" y="106"/>
                    <a:pt x="459" y="111"/>
                  </a:cubicBezTo>
                  <a:cubicBezTo>
                    <a:pt x="536" y="155"/>
                    <a:pt x="536" y="155"/>
                    <a:pt x="536" y="155"/>
                  </a:cubicBezTo>
                  <a:cubicBezTo>
                    <a:pt x="269" y="310"/>
                    <a:pt x="269" y="310"/>
                    <a:pt x="269" y="310"/>
                  </a:cubicBezTo>
                  <a:cubicBezTo>
                    <a:pt x="0" y="155"/>
                    <a:pt x="0" y="155"/>
                    <a:pt x="0" y="155"/>
                  </a:cubicBezTo>
                  <a:cubicBezTo>
                    <a:pt x="77" y="110"/>
                    <a:pt x="77" y="110"/>
                    <a:pt x="77" y="110"/>
                  </a:cubicBezTo>
                  <a:cubicBezTo>
                    <a:pt x="83" y="107"/>
                    <a:pt x="92" y="107"/>
                    <a:pt x="98" y="111"/>
                  </a:cubicBezTo>
                  <a:cubicBezTo>
                    <a:pt x="100" y="111"/>
                    <a:pt x="101" y="113"/>
                    <a:pt x="102" y="114"/>
                  </a:cubicBezTo>
                  <a:cubicBezTo>
                    <a:pt x="105" y="119"/>
                    <a:pt x="111" y="124"/>
                    <a:pt x="118" y="129"/>
                  </a:cubicBezTo>
                  <a:cubicBezTo>
                    <a:pt x="148" y="146"/>
                    <a:pt x="196" y="145"/>
                    <a:pt x="224" y="127"/>
                  </a:cubicBezTo>
                  <a:cubicBezTo>
                    <a:pt x="250" y="111"/>
                    <a:pt x="250" y="86"/>
                    <a:pt x="224" y="70"/>
                  </a:cubicBezTo>
                  <a:cubicBezTo>
                    <a:pt x="224" y="70"/>
                    <a:pt x="223" y="69"/>
                    <a:pt x="222" y="69"/>
                  </a:cubicBezTo>
                  <a:cubicBezTo>
                    <a:pt x="214" y="64"/>
                    <a:pt x="205" y="61"/>
                    <a:pt x="196" y="59"/>
                  </a:cubicBezTo>
                  <a:cubicBezTo>
                    <a:pt x="194" y="58"/>
                    <a:pt x="192" y="58"/>
                    <a:pt x="191" y="57"/>
                  </a:cubicBezTo>
                  <a:cubicBezTo>
                    <a:pt x="185" y="54"/>
                    <a:pt x="184" y="48"/>
                    <a:pt x="190" y="45"/>
                  </a:cubicBezTo>
                  <a:cubicBezTo>
                    <a:pt x="267" y="0"/>
                    <a:pt x="267" y="0"/>
                    <a:pt x="267" y="0"/>
                  </a:cubicBezTo>
                  <a:cubicBezTo>
                    <a:pt x="344" y="44"/>
                    <a:pt x="344" y="44"/>
                    <a:pt x="344" y="44"/>
                  </a:cubicBezTo>
                  <a:cubicBezTo>
                    <a:pt x="352" y="49"/>
                    <a:pt x="365" y="47"/>
                    <a:pt x="369" y="41"/>
                  </a:cubicBezTo>
                  <a:cubicBezTo>
                    <a:pt x="373" y="35"/>
                    <a:pt x="380" y="29"/>
                    <a:pt x="389" y="25"/>
                  </a:cubicBezTo>
                  <a:cubicBezTo>
                    <a:pt x="417" y="10"/>
                    <a:pt x="460" y="10"/>
                    <a:pt x="487" y="25"/>
                  </a:cubicBezTo>
                  <a:cubicBezTo>
                    <a:pt x="488" y="25"/>
                    <a:pt x="489" y="26"/>
                    <a:pt x="490" y="2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6">
              <a:extLst>
                <a:ext uri="{FF2B5EF4-FFF2-40B4-BE49-F238E27FC236}">
                  <a16:creationId xmlns:a16="http://schemas.microsoft.com/office/drawing/2014/main" id="{F619F28F-2CF3-4895-A76F-E0B3BD319D0D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8763" y="2832101"/>
              <a:ext cx="3240088" cy="1882775"/>
            </a:xfrm>
            <a:custGeom>
              <a:avLst/>
              <a:gdLst>
                <a:gd name="T0" fmla="*/ 0 w 514"/>
                <a:gd name="T1" fmla="*/ 149 h 298"/>
                <a:gd name="T2" fmla="*/ 68 w 514"/>
                <a:gd name="T3" fmla="*/ 109 h 298"/>
                <a:gd name="T4" fmla="*/ 76 w 514"/>
                <a:gd name="T5" fmla="*/ 107 h 298"/>
                <a:gd name="T6" fmla="*/ 84 w 514"/>
                <a:gd name="T7" fmla="*/ 109 h 298"/>
                <a:gd name="T8" fmla="*/ 86 w 514"/>
                <a:gd name="T9" fmla="*/ 111 h 298"/>
                <a:gd name="T10" fmla="*/ 105 w 514"/>
                <a:gd name="T11" fmla="*/ 127 h 298"/>
                <a:gd name="T12" fmla="*/ 159 w 514"/>
                <a:gd name="T13" fmla="*/ 141 h 298"/>
                <a:gd name="T14" fmla="*/ 216 w 514"/>
                <a:gd name="T15" fmla="*/ 126 h 298"/>
                <a:gd name="T16" fmla="*/ 238 w 514"/>
                <a:gd name="T17" fmla="*/ 93 h 298"/>
                <a:gd name="T18" fmla="*/ 216 w 514"/>
                <a:gd name="T19" fmla="*/ 60 h 298"/>
                <a:gd name="T20" fmla="*/ 213 w 514"/>
                <a:gd name="T21" fmla="*/ 58 h 298"/>
                <a:gd name="T22" fmla="*/ 186 w 514"/>
                <a:gd name="T23" fmla="*/ 48 h 298"/>
                <a:gd name="T24" fmla="*/ 182 w 514"/>
                <a:gd name="T25" fmla="*/ 46 h 298"/>
                <a:gd name="T26" fmla="*/ 180 w 514"/>
                <a:gd name="T27" fmla="*/ 44 h 298"/>
                <a:gd name="T28" fmla="*/ 182 w 514"/>
                <a:gd name="T29" fmla="*/ 43 h 298"/>
                <a:gd name="T30" fmla="*/ 256 w 514"/>
                <a:gd name="T31" fmla="*/ 0 h 298"/>
                <a:gd name="T32" fmla="*/ 330 w 514"/>
                <a:gd name="T33" fmla="*/ 43 h 298"/>
                <a:gd name="T34" fmla="*/ 344 w 514"/>
                <a:gd name="T35" fmla="*/ 46 h 298"/>
                <a:gd name="T36" fmla="*/ 363 w 514"/>
                <a:gd name="T37" fmla="*/ 38 h 298"/>
                <a:gd name="T38" fmla="*/ 380 w 514"/>
                <a:gd name="T39" fmla="*/ 23 h 298"/>
                <a:gd name="T40" fmla="*/ 427 w 514"/>
                <a:gd name="T41" fmla="*/ 13 h 298"/>
                <a:gd name="T42" fmla="*/ 474 w 514"/>
                <a:gd name="T43" fmla="*/ 24 h 298"/>
                <a:gd name="T44" fmla="*/ 476 w 514"/>
                <a:gd name="T45" fmla="*/ 25 h 298"/>
                <a:gd name="T46" fmla="*/ 495 w 514"/>
                <a:gd name="T47" fmla="*/ 50 h 298"/>
                <a:gd name="T48" fmla="*/ 476 w 514"/>
                <a:gd name="T49" fmla="*/ 76 h 298"/>
                <a:gd name="T50" fmla="*/ 452 w 514"/>
                <a:gd name="T51" fmla="*/ 85 h 298"/>
                <a:gd name="T52" fmla="*/ 438 w 514"/>
                <a:gd name="T53" fmla="*/ 97 h 298"/>
                <a:gd name="T54" fmla="*/ 445 w 514"/>
                <a:gd name="T55" fmla="*/ 109 h 298"/>
                <a:gd name="T56" fmla="*/ 514 w 514"/>
                <a:gd name="T57" fmla="*/ 149 h 298"/>
                <a:gd name="T58" fmla="*/ 258 w 514"/>
                <a:gd name="T59" fmla="*/ 298 h 298"/>
                <a:gd name="T60" fmla="*/ 0 w 514"/>
                <a:gd name="T61" fmla="*/ 149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14" h="298">
                  <a:moveTo>
                    <a:pt x="0" y="149"/>
                  </a:moveTo>
                  <a:cubicBezTo>
                    <a:pt x="68" y="109"/>
                    <a:pt x="68" y="109"/>
                    <a:pt x="68" y="109"/>
                  </a:cubicBezTo>
                  <a:cubicBezTo>
                    <a:pt x="71" y="108"/>
                    <a:pt x="73" y="107"/>
                    <a:pt x="76" y="107"/>
                  </a:cubicBezTo>
                  <a:cubicBezTo>
                    <a:pt x="79" y="107"/>
                    <a:pt x="82" y="108"/>
                    <a:pt x="84" y="109"/>
                  </a:cubicBezTo>
                  <a:cubicBezTo>
                    <a:pt x="85" y="110"/>
                    <a:pt x="86" y="110"/>
                    <a:pt x="86" y="111"/>
                  </a:cubicBezTo>
                  <a:cubicBezTo>
                    <a:pt x="90" y="117"/>
                    <a:pt x="96" y="123"/>
                    <a:pt x="105" y="127"/>
                  </a:cubicBezTo>
                  <a:cubicBezTo>
                    <a:pt x="119" y="136"/>
                    <a:pt x="139" y="141"/>
                    <a:pt x="159" y="141"/>
                  </a:cubicBezTo>
                  <a:cubicBezTo>
                    <a:pt x="181" y="141"/>
                    <a:pt x="201" y="135"/>
                    <a:pt x="216" y="126"/>
                  </a:cubicBezTo>
                  <a:cubicBezTo>
                    <a:pt x="230" y="117"/>
                    <a:pt x="238" y="105"/>
                    <a:pt x="238" y="93"/>
                  </a:cubicBezTo>
                  <a:cubicBezTo>
                    <a:pt x="238" y="80"/>
                    <a:pt x="230" y="68"/>
                    <a:pt x="216" y="60"/>
                  </a:cubicBezTo>
                  <a:cubicBezTo>
                    <a:pt x="215" y="59"/>
                    <a:pt x="214" y="58"/>
                    <a:pt x="213" y="58"/>
                  </a:cubicBezTo>
                  <a:cubicBezTo>
                    <a:pt x="206" y="53"/>
                    <a:pt x="196" y="50"/>
                    <a:pt x="186" y="48"/>
                  </a:cubicBezTo>
                  <a:cubicBezTo>
                    <a:pt x="185" y="47"/>
                    <a:pt x="183" y="47"/>
                    <a:pt x="182" y="46"/>
                  </a:cubicBezTo>
                  <a:cubicBezTo>
                    <a:pt x="181" y="45"/>
                    <a:pt x="180" y="45"/>
                    <a:pt x="180" y="44"/>
                  </a:cubicBezTo>
                  <a:cubicBezTo>
                    <a:pt x="180" y="44"/>
                    <a:pt x="181" y="44"/>
                    <a:pt x="182" y="43"/>
                  </a:cubicBezTo>
                  <a:cubicBezTo>
                    <a:pt x="256" y="0"/>
                    <a:pt x="256" y="0"/>
                    <a:pt x="256" y="0"/>
                  </a:cubicBezTo>
                  <a:cubicBezTo>
                    <a:pt x="330" y="43"/>
                    <a:pt x="330" y="43"/>
                    <a:pt x="330" y="43"/>
                  </a:cubicBezTo>
                  <a:cubicBezTo>
                    <a:pt x="334" y="45"/>
                    <a:pt x="339" y="46"/>
                    <a:pt x="344" y="46"/>
                  </a:cubicBezTo>
                  <a:cubicBezTo>
                    <a:pt x="350" y="46"/>
                    <a:pt x="359" y="44"/>
                    <a:pt x="363" y="38"/>
                  </a:cubicBezTo>
                  <a:cubicBezTo>
                    <a:pt x="366" y="33"/>
                    <a:pt x="372" y="28"/>
                    <a:pt x="380" y="23"/>
                  </a:cubicBezTo>
                  <a:cubicBezTo>
                    <a:pt x="393" y="17"/>
                    <a:pt x="409" y="13"/>
                    <a:pt x="427" y="13"/>
                  </a:cubicBezTo>
                  <a:cubicBezTo>
                    <a:pt x="444" y="13"/>
                    <a:pt x="461" y="17"/>
                    <a:pt x="474" y="24"/>
                  </a:cubicBezTo>
                  <a:cubicBezTo>
                    <a:pt x="475" y="24"/>
                    <a:pt x="475" y="25"/>
                    <a:pt x="476" y="25"/>
                  </a:cubicBezTo>
                  <a:cubicBezTo>
                    <a:pt x="488" y="32"/>
                    <a:pt x="495" y="41"/>
                    <a:pt x="495" y="50"/>
                  </a:cubicBezTo>
                  <a:cubicBezTo>
                    <a:pt x="495" y="60"/>
                    <a:pt x="488" y="69"/>
                    <a:pt x="476" y="76"/>
                  </a:cubicBezTo>
                  <a:cubicBezTo>
                    <a:pt x="469" y="80"/>
                    <a:pt x="461" y="83"/>
                    <a:pt x="452" y="85"/>
                  </a:cubicBezTo>
                  <a:cubicBezTo>
                    <a:pt x="444" y="86"/>
                    <a:pt x="439" y="91"/>
                    <a:pt x="438" y="97"/>
                  </a:cubicBezTo>
                  <a:cubicBezTo>
                    <a:pt x="437" y="102"/>
                    <a:pt x="440" y="106"/>
                    <a:pt x="445" y="109"/>
                  </a:cubicBezTo>
                  <a:cubicBezTo>
                    <a:pt x="514" y="149"/>
                    <a:pt x="514" y="149"/>
                    <a:pt x="514" y="149"/>
                  </a:cubicBezTo>
                  <a:cubicBezTo>
                    <a:pt x="258" y="298"/>
                    <a:pt x="258" y="298"/>
                    <a:pt x="258" y="298"/>
                  </a:cubicBezTo>
                  <a:lnTo>
                    <a:pt x="0" y="149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7">
              <a:extLst>
                <a:ext uri="{FF2B5EF4-FFF2-40B4-BE49-F238E27FC236}">
                  <a16:creationId xmlns:a16="http://schemas.microsoft.com/office/drawing/2014/main" id="{74414DBB-1050-40F8-9C91-E4016B883648}"/>
                </a:ext>
              </a:extLst>
            </p:cNvPr>
            <p:cNvSpPr>
              <a:spLocks/>
            </p:cNvSpPr>
            <p:nvPr/>
          </p:nvSpPr>
          <p:spPr bwMode="auto">
            <a:xfrm>
              <a:off x="4425951" y="3773488"/>
              <a:ext cx="1682750" cy="1276350"/>
            </a:xfrm>
            <a:custGeom>
              <a:avLst/>
              <a:gdLst>
                <a:gd name="T0" fmla="*/ 1060 w 1060"/>
                <a:gd name="T1" fmla="*/ 0 h 804"/>
                <a:gd name="T2" fmla="*/ 1060 w 1060"/>
                <a:gd name="T3" fmla="*/ 187 h 804"/>
                <a:gd name="T4" fmla="*/ 0 w 1060"/>
                <a:gd name="T5" fmla="*/ 804 h 804"/>
                <a:gd name="T6" fmla="*/ 0 w 1060"/>
                <a:gd name="T7" fmla="*/ 617 h 804"/>
                <a:gd name="T8" fmla="*/ 1060 w 1060"/>
                <a:gd name="T9" fmla="*/ 0 h 8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60" h="804">
                  <a:moveTo>
                    <a:pt x="1060" y="0"/>
                  </a:moveTo>
                  <a:lnTo>
                    <a:pt x="1060" y="187"/>
                  </a:lnTo>
                  <a:lnTo>
                    <a:pt x="0" y="804"/>
                  </a:lnTo>
                  <a:lnTo>
                    <a:pt x="0" y="617"/>
                  </a:lnTo>
                  <a:lnTo>
                    <a:pt x="1060" y="0"/>
                  </a:lnTo>
                  <a:close/>
                </a:path>
              </a:pathLst>
            </a:custGeom>
            <a:solidFill>
              <a:schemeClr val="accent2">
                <a:lumMod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8">
              <a:extLst>
                <a:ext uri="{FF2B5EF4-FFF2-40B4-BE49-F238E27FC236}">
                  <a16:creationId xmlns:a16="http://schemas.microsoft.com/office/drawing/2014/main" id="{59A2E035-D22D-4EA9-833F-280765309CDC}"/>
                </a:ext>
              </a:extLst>
            </p:cNvPr>
            <p:cNvSpPr>
              <a:spLocks/>
            </p:cNvSpPr>
            <p:nvPr/>
          </p:nvSpPr>
          <p:spPr bwMode="auto">
            <a:xfrm>
              <a:off x="2728913" y="3773488"/>
              <a:ext cx="1697038" cy="1276350"/>
            </a:xfrm>
            <a:custGeom>
              <a:avLst/>
              <a:gdLst>
                <a:gd name="T0" fmla="*/ 1069 w 1069"/>
                <a:gd name="T1" fmla="*/ 617 h 804"/>
                <a:gd name="T2" fmla="*/ 1069 w 1069"/>
                <a:gd name="T3" fmla="*/ 804 h 804"/>
                <a:gd name="T4" fmla="*/ 0 w 1069"/>
                <a:gd name="T5" fmla="*/ 187 h 804"/>
                <a:gd name="T6" fmla="*/ 0 w 1069"/>
                <a:gd name="T7" fmla="*/ 0 h 804"/>
                <a:gd name="T8" fmla="*/ 1069 w 1069"/>
                <a:gd name="T9" fmla="*/ 617 h 8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69" h="804">
                  <a:moveTo>
                    <a:pt x="1069" y="617"/>
                  </a:moveTo>
                  <a:lnTo>
                    <a:pt x="1069" y="804"/>
                  </a:lnTo>
                  <a:lnTo>
                    <a:pt x="0" y="187"/>
                  </a:lnTo>
                  <a:lnTo>
                    <a:pt x="0" y="0"/>
                  </a:lnTo>
                  <a:lnTo>
                    <a:pt x="1069" y="617"/>
                  </a:ln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19">
              <a:extLst>
                <a:ext uri="{FF2B5EF4-FFF2-40B4-BE49-F238E27FC236}">
                  <a16:creationId xmlns:a16="http://schemas.microsoft.com/office/drawing/2014/main" id="{242ABD1E-FC01-40E9-ABF3-0658F0952612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1863" y="2794001"/>
              <a:ext cx="509588" cy="612775"/>
            </a:xfrm>
            <a:custGeom>
              <a:avLst/>
              <a:gdLst>
                <a:gd name="T0" fmla="*/ 5 w 81"/>
                <a:gd name="T1" fmla="*/ 44 h 97"/>
                <a:gd name="T2" fmla="*/ 4 w 81"/>
                <a:gd name="T3" fmla="*/ 44 h 97"/>
                <a:gd name="T4" fmla="*/ 4 w 81"/>
                <a:gd name="T5" fmla="*/ 45 h 97"/>
                <a:gd name="T6" fmla="*/ 4 w 81"/>
                <a:gd name="T7" fmla="*/ 45 h 97"/>
                <a:gd name="T8" fmla="*/ 3 w 81"/>
                <a:gd name="T9" fmla="*/ 45 h 97"/>
                <a:gd name="T10" fmla="*/ 3 w 81"/>
                <a:gd name="T11" fmla="*/ 46 h 97"/>
                <a:gd name="T12" fmla="*/ 2 w 81"/>
                <a:gd name="T13" fmla="*/ 46 h 97"/>
                <a:gd name="T14" fmla="*/ 2 w 81"/>
                <a:gd name="T15" fmla="*/ 46 h 97"/>
                <a:gd name="T16" fmla="*/ 2 w 81"/>
                <a:gd name="T17" fmla="*/ 47 h 97"/>
                <a:gd name="T18" fmla="*/ 2 w 81"/>
                <a:gd name="T19" fmla="*/ 47 h 97"/>
                <a:gd name="T20" fmla="*/ 1 w 81"/>
                <a:gd name="T21" fmla="*/ 47 h 97"/>
                <a:gd name="T22" fmla="*/ 1 w 81"/>
                <a:gd name="T23" fmla="*/ 47 h 97"/>
                <a:gd name="T24" fmla="*/ 1 w 81"/>
                <a:gd name="T25" fmla="*/ 48 h 97"/>
                <a:gd name="T26" fmla="*/ 1 w 81"/>
                <a:gd name="T27" fmla="*/ 48 h 97"/>
                <a:gd name="T28" fmla="*/ 1 w 81"/>
                <a:gd name="T29" fmla="*/ 48 h 97"/>
                <a:gd name="T30" fmla="*/ 1 w 81"/>
                <a:gd name="T31" fmla="*/ 49 h 97"/>
                <a:gd name="T32" fmla="*/ 0 w 81"/>
                <a:gd name="T33" fmla="*/ 49 h 97"/>
                <a:gd name="T34" fmla="*/ 0 w 81"/>
                <a:gd name="T35" fmla="*/ 49 h 97"/>
                <a:gd name="T36" fmla="*/ 0 w 81"/>
                <a:gd name="T37" fmla="*/ 49 h 97"/>
                <a:gd name="T38" fmla="*/ 0 w 81"/>
                <a:gd name="T39" fmla="*/ 50 h 97"/>
                <a:gd name="T40" fmla="*/ 0 w 81"/>
                <a:gd name="T41" fmla="*/ 50 h 97"/>
                <a:gd name="T42" fmla="*/ 0 w 81"/>
                <a:gd name="T43" fmla="*/ 50 h 97"/>
                <a:gd name="T44" fmla="*/ 0 w 81"/>
                <a:gd name="T45" fmla="*/ 50 h 97"/>
                <a:gd name="T46" fmla="*/ 0 w 81"/>
                <a:gd name="T47" fmla="*/ 97 h 97"/>
                <a:gd name="T48" fmla="*/ 0 w 81"/>
                <a:gd name="T49" fmla="*/ 97 h 97"/>
                <a:gd name="T50" fmla="*/ 0 w 81"/>
                <a:gd name="T51" fmla="*/ 96 h 97"/>
                <a:gd name="T52" fmla="*/ 0 w 81"/>
                <a:gd name="T53" fmla="*/ 96 h 97"/>
                <a:gd name="T54" fmla="*/ 0 w 81"/>
                <a:gd name="T55" fmla="*/ 96 h 97"/>
                <a:gd name="T56" fmla="*/ 1 w 81"/>
                <a:gd name="T57" fmla="*/ 95 h 97"/>
                <a:gd name="T58" fmla="*/ 1 w 81"/>
                <a:gd name="T59" fmla="*/ 95 h 97"/>
                <a:gd name="T60" fmla="*/ 1 w 81"/>
                <a:gd name="T61" fmla="*/ 94 h 97"/>
                <a:gd name="T62" fmla="*/ 1 w 81"/>
                <a:gd name="T63" fmla="*/ 94 h 97"/>
                <a:gd name="T64" fmla="*/ 2 w 81"/>
                <a:gd name="T65" fmla="*/ 93 h 97"/>
                <a:gd name="T66" fmla="*/ 2 w 81"/>
                <a:gd name="T67" fmla="*/ 93 h 97"/>
                <a:gd name="T68" fmla="*/ 2 w 81"/>
                <a:gd name="T69" fmla="*/ 93 h 97"/>
                <a:gd name="T70" fmla="*/ 3 w 81"/>
                <a:gd name="T71" fmla="*/ 92 h 97"/>
                <a:gd name="T72" fmla="*/ 3 w 81"/>
                <a:gd name="T73" fmla="*/ 92 h 97"/>
                <a:gd name="T74" fmla="*/ 4 w 81"/>
                <a:gd name="T75" fmla="*/ 91 h 97"/>
                <a:gd name="T76" fmla="*/ 5 w 81"/>
                <a:gd name="T77" fmla="*/ 91 h 97"/>
                <a:gd name="T78" fmla="*/ 81 w 81"/>
                <a:gd name="T79" fmla="*/ 47 h 97"/>
                <a:gd name="T80" fmla="*/ 81 w 81"/>
                <a:gd name="T81" fmla="*/ 0 h 97"/>
                <a:gd name="T82" fmla="*/ 5 w 81"/>
                <a:gd name="T83" fmla="*/ 44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81" h="97">
                  <a:moveTo>
                    <a:pt x="5" y="44"/>
                  </a:moveTo>
                  <a:cubicBezTo>
                    <a:pt x="5" y="44"/>
                    <a:pt x="5" y="44"/>
                    <a:pt x="4" y="44"/>
                  </a:cubicBezTo>
                  <a:cubicBezTo>
                    <a:pt x="4" y="44"/>
                    <a:pt x="4" y="44"/>
                    <a:pt x="4" y="45"/>
                  </a:cubicBezTo>
                  <a:cubicBezTo>
                    <a:pt x="4" y="45"/>
                    <a:pt x="4" y="45"/>
                    <a:pt x="4" y="45"/>
                  </a:cubicBezTo>
                  <a:cubicBezTo>
                    <a:pt x="3" y="45"/>
                    <a:pt x="3" y="45"/>
                    <a:pt x="3" y="45"/>
                  </a:cubicBezTo>
                  <a:cubicBezTo>
                    <a:pt x="3" y="45"/>
                    <a:pt x="3" y="46"/>
                    <a:pt x="3" y="46"/>
                  </a:cubicBezTo>
                  <a:cubicBezTo>
                    <a:pt x="3" y="46"/>
                    <a:pt x="3" y="46"/>
                    <a:pt x="2" y="46"/>
                  </a:cubicBezTo>
                  <a:cubicBezTo>
                    <a:pt x="2" y="46"/>
                    <a:pt x="2" y="46"/>
                    <a:pt x="2" y="46"/>
                  </a:cubicBezTo>
                  <a:cubicBezTo>
                    <a:pt x="2" y="46"/>
                    <a:pt x="2" y="46"/>
                    <a:pt x="2" y="47"/>
                  </a:cubicBezTo>
                  <a:cubicBezTo>
                    <a:pt x="2" y="47"/>
                    <a:pt x="2" y="47"/>
                    <a:pt x="2" y="47"/>
                  </a:cubicBezTo>
                  <a:cubicBezTo>
                    <a:pt x="1" y="47"/>
                    <a:pt x="1" y="47"/>
                    <a:pt x="1" y="47"/>
                  </a:cubicBezTo>
                  <a:cubicBezTo>
                    <a:pt x="1" y="47"/>
                    <a:pt x="1" y="47"/>
                    <a:pt x="1" y="47"/>
                  </a:cubicBezTo>
                  <a:cubicBezTo>
                    <a:pt x="1" y="48"/>
                    <a:pt x="1" y="48"/>
                    <a:pt x="1" y="48"/>
                  </a:cubicBezTo>
                  <a:cubicBezTo>
                    <a:pt x="1" y="48"/>
                    <a:pt x="1" y="48"/>
                    <a:pt x="1" y="48"/>
                  </a:cubicBezTo>
                  <a:cubicBezTo>
                    <a:pt x="1" y="48"/>
                    <a:pt x="1" y="48"/>
                    <a:pt x="1" y="48"/>
                  </a:cubicBezTo>
                  <a:cubicBezTo>
                    <a:pt x="1" y="48"/>
                    <a:pt x="1" y="48"/>
                    <a:pt x="1" y="49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49"/>
                    <a:pt x="0" y="49"/>
                    <a:pt x="0" y="50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0" y="97"/>
                    <a:pt x="0" y="97"/>
                    <a:pt x="0" y="96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95"/>
                    <a:pt x="0" y="95"/>
                    <a:pt x="1" y="95"/>
                  </a:cubicBezTo>
                  <a:cubicBezTo>
                    <a:pt x="1" y="95"/>
                    <a:pt x="1" y="95"/>
                    <a:pt x="1" y="95"/>
                  </a:cubicBezTo>
                  <a:cubicBezTo>
                    <a:pt x="1" y="95"/>
                    <a:pt x="1" y="94"/>
                    <a:pt x="1" y="94"/>
                  </a:cubicBezTo>
                  <a:cubicBezTo>
                    <a:pt x="1" y="94"/>
                    <a:pt x="1" y="94"/>
                    <a:pt x="1" y="94"/>
                  </a:cubicBezTo>
                  <a:cubicBezTo>
                    <a:pt x="1" y="94"/>
                    <a:pt x="1" y="94"/>
                    <a:pt x="2" y="93"/>
                  </a:cubicBezTo>
                  <a:cubicBezTo>
                    <a:pt x="2" y="93"/>
                    <a:pt x="2" y="93"/>
                    <a:pt x="2" y="93"/>
                  </a:cubicBezTo>
                  <a:cubicBezTo>
                    <a:pt x="2" y="93"/>
                    <a:pt x="2" y="93"/>
                    <a:pt x="2" y="93"/>
                  </a:cubicBezTo>
                  <a:cubicBezTo>
                    <a:pt x="3" y="92"/>
                    <a:pt x="3" y="92"/>
                    <a:pt x="3" y="92"/>
                  </a:cubicBezTo>
                  <a:cubicBezTo>
                    <a:pt x="3" y="92"/>
                    <a:pt x="3" y="92"/>
                    <a:pt x="3" y="92"/>
                  </a:cubicBezTo>
                  <a:cubicBezTo>
                    <a:pt x="4" y="92"/>
                    <a:pt x="4" y="92"/>
                    <a:pt x="4" y="91"/>
                  </a:cubicBezTo>
                  <a:cubicBezTo>
                    <a:pt x="4" y="91"/>
                    <a:pt x="4" y="91"/>
                    <a:pt x="5" y="91"/>
                  </a:cubicBezTo>
                  <a:cubicBezTo>
                    <a:pt x="81" y="47"/>
                    <a:pt x="81" y="47"/>
                    <a:pt x="81" y="47"/>
                  </a:cubicBezTo>
                  <a:cubicBezTo>
                    <a:pt x="81" y="0"/>
                    <a:pt x="81" y="0"/>
                    <a:pt x="81" y="0"/>
                  </a:cubicBezTo>
                  <a:lnTo>
                    <a:pt x="5" y="44"/>
                  </a:lnTo>
                  <a:close/>
                </a:path>
              </a:pathLst>
            </a:custGeom>
            <a:solidFill>
              <a:srgbClr val="0D4D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20">
              <a:extLst>
                <a:ext uri="{FF2B5EF4-FFF2-40B4-BE49-F238E27FC236}">
                  <a16:creationId xmlns:a16="http://schemas.microsoft.com/office/drawing/2014/main" id="{399BFAED-54F0-4393-89F6-CF2D54A40A61}"/>
                </a:ext>
              </a:extLst>
            </p:cNvPr>
            <p:cNvSpPr>
              <a:spLocks/>
            </p:cNvSpPr>
            <p:nvPr/>
          </p:nvSpPr>
          <p:spPr bwMode="auto">
            <a:xfrm>
              <a:off x="6108701" y="3419476"/>
              <a:ext cx="1531938" cy="650875"/>
            </a:xfrm>
            <a:custGeom>
              <a:avLst/>
              <a:gdLst>
                <a:gd name="T0" fmla="*/ 243 w 243"/>
                <a:gd name="T1" fmla="*/ 4 h 103"/>
                <a:gd name="T2" fmla="*/ 242 w 243"/>
                <a:gd name="T3" fmla="*/ 9 h 103"/>
                <a:gd name="T4" fmla="*/ 240 w 243"/>
                <a:gd name="T5" fmla="*/ 13 h 103"/>
                <a:gd name="T6" fmla="*/ 237 w 243"/>
                <a:gd name="T7" fmla="*/ 17 h 103"/>
                <a:gd name="T8" fmla="*/ 232 w 243"/>
                <a:gd name="T9" fmla="*/ 22 h 103"/>
                <a:gd name="T10" fmla="*/ 228 w 243"/>
                <a:gd name="T11" fmla="*/ 26 h 103"/>
                <a:gd name="T12" fmla="*/ 220 w 243"/>
                <a:gd name="T13" fmla="*/ 31 h 103"/>
                <a:gd name="T14" fmla="*/ 213 w 243"/>
                <a:gd name="T15" fmla="*/ 34 h 103"/>
                <a:gd name="T16" fmla="*/ 205 w 243"/>
                <a:gd name="T17" fmla="*/ 37 h 103"/>
                <a:gd name="T18" fmla="*/ 198 w 243"/>
                <a:gd name="T19" fmla="*/ 39 h 103"/>
                <a:gd name="T20" fmla="*/ 192 w 243"/>
                <a:gd name="T21" fmla="*/ 40 h 103"/>
                <a:gd name="T22" fmla="*/ 182 w 243"/>
                <a:gd name="T23" fmla="*/ 41 h 103"/>
                <a:gd name="T24" fmla="*/ 174 w 243"/>
                <a:gd name="T25" fmla="*/ 42 h 103"/>
                <a:gd name="T26" fmla="*/ 166 w 243"/>
                <a:gd name="T27" fmla="*/ 42 h 103"/>
                <a:gd name="T28" fmla="*/ 159 w 243"/>
                <a:gd name="T29" fmla="*/ 42 h 103"/>
                <a:gd name="T30" fmla="*/ 152 w 243"/>
                <a:gd name="T31" fmla="*/ 41 h 103"/>
                <a:gd name="T32" fmla="*/ 145 w 243"/>
                <a:gd name="T33" fmla="*/ 39 h 103"/>
                <a:gd name="T34" fmla="*/ 137 w 243"/>
                <a:gd name="T35" fmla="*/ 37 h 103"/>
                <a:gd name="T36" fmla="*/ 128 w 243"/>
                <a:gd name="T37" fmla="*/ 34 h 103"/>
                <a:gd name="T38" fmla="*/ 118 w 243"/>
                <a:gd name="T39" fmla="*/ 30 h 103"/>
                <a:gd name="T40" fmla="*/ 97 w 243"/>
                <a:gd name="T41" fmla="*/ 11 h 103"/>
                <a:gd name="T42" fmla="*/ 94 w 243"/>
                <a:gd name="T43" fmla="*/ 10 h 103"/>
                <a:gd name="T44" fmla="*/ 92 w 243"/>
                <a:gd name="T45" fmla="*/ 10 h 103"/>
                <a:gd name="T46" fmla="*/ 90 w 243"/>
                <a:gd name="T47" fmla="*/ 9 h 103"/>
                <a:gd name="T48" fmla="*/ 88 w 243"/>
                <a:gd name="T49" fmla="*/ 9 h 103"/>
                <a:gd name="T50" fmla="*/ 86 w 243"/>
                <a:gd name="T51" fmla="*/ 9 h 103"/>
                <a:gd name="T52" fmla="*/ 83 w 243"/>
                <a:gd name="T53" fmla="*/ 9 h 103"/>
                <a:gd name="T54" fmla="*/ 81 w 243"/>
                <a:gd name="T55" fmla="*/ 10 h 103"/>
                <a:gd name="T56" fmla="*/ 78 w 243"/>
                <a:gd name="T57" fmla="*/ 11 h 103"/>
                <a:gd name="T58" fmla="*/ 0 w 243"/>
                <a:gd name="T59" fmla="*/ 103 h 103"/>
                <a:gd name="T60" fmla="*/ 79 w 243"/>
                <a:gd name="T61" fmla="*/ 57 h 103"/>
                <a:gd name="T62" fmla="*/ 82 w 243"/>
                <a:gd name="T63" fmla="*/ 56 h 103"/>
                <a:gd name="T64" fmla="*/ 86 w 243"/>
                <a:gd name="T65" fmla="*/ 56 h 103"/>
                <a:gd name="T66" fmla="*/ 89 w 243"/>
                <a:gd name="T67" fmla="*/ 56 h 103"/>
                <a:gd name="T68" fmla="*/ 92 w 243"/>
                <a:gd name="T69" fmla="*/ 56 h 103"/>
                <a:gd name="T70" fmla="*/ 96 w 243"/>
                <a:gd name="T71" fmla="*/ 57 h 103"/>
                <a:gd name="T72" fmla="*/ 102 w 243"/>
                <a:gd name="T73" fmla="*/ 62 h 103"/>
                <a:gd name="T74" fmla="*/ 125 w 243"/>
                <a:gd name="T75" fmla="*/ 80 h 103"/>
                <a:gd name="T76" fmla="*/ 133 w 243"/>
                <a:gd name="T77" fmla="*/ 83 h 103"/>
                <a:gd name="T78" fmla="*/ 138 w 243"/>
                <a:gd name="T79" fmla="*/ 85 h 103"/>
                <a:gd name="T80" fmla="*/ 145 w 243"/>
                <a:gd name="T81" fmla="*/ 86 h 103"/>
                <a:gd name="T82" fmla="*/ 152 w 243"/>
                <a:gd name="T83" fmla="*/ 88 h 103"/>
                <a:gd name="T84" fmla="*/ 157 w 243"/>
                <a:gd name="T85" fmla="*/ 88 h 103"/>
                <a:gd name="T86" fmla="*/ 162 w 243"/>
                <a:gd name="T87" fmla="*/ 89 h 103"/>
                <a:gd name="T88" fmla="*/ 167 w 243"/>
                <a:gd name="T89" fmla="*/ 89 h 103"/>
                <a:gd name="T90" fmla="*/ 175 w 243"/>
                <a:gd name="T91" fmla="*/ 89 h 103"/>
                <a:gd name="T92" fmla="*/ 182 w 243"/>
                <a:gd name="T93" fmla="*/ 88 h 103"/>
                <a:gd name="T94" fmla="*/ 188 w 243"/>
                <a:gd name="T95" fmla="*/ 88 h 103"/>
                <a:gd name="T96" fmla="*/ 195 w 243"/>
                <a:gd name="T97" fmla="*/ 86 h 103"/>
                <a:gd name="T98" fmla="*/ 202 w 243"/>
                <a:gd name="T99" fmla="*/ 85 h 103"/>
                <a:gd name="T100" fmla="*/ 206 w 243"/>
                <a:gd name="T101" fmla="*/ 84 h 103"/>
                <a:gd name="T102" fmla="*/ 214 w 243"/>
                <a:gd name="T103" fmla="*/ 81 h 103"/>
                <a:gd name="T104" fmla="*/ 223 w 243"/>
                <a:gd name="T105" fmla="*/ 76 h 103"/>
                <a:gd name="T106" fmla="*/ 228 w 243"/>
                <a:gd name="T107" fmla="*/ 73 h 103"/>
                <a:gd name="T108" fmla="*/ 232 w 243"/>
                <a:gd name="T109" fmla="*/ 69 h 103"/>
                <a:gd name="T110" fmla="*/ 236 w 243"/>
                <a:gd name="T111" fmla="*/ 65 h 103"/>
                <a:gd name="T112" fmla="*/ 239 w 243"/>
                <a:gd name="T113" fmla="*/ 62 h 103"/>
                <a:gd name="T114" fmla="*/ 240 w 243"/>
                <a:gd name="T115" fmla="*/ 58 h 103"/>
                <a:gd name="T116" fmla="*/ 242 w 243"/>
                <a:gd name="T117" fmla="*/ 55 h 103"/>
                <a:gd name="T118" fmla="*/ 243 w 243"/>
                <a:gd name="T119" fmla="*/ 52 h 103"/>
                <a:gd name="T120" fmla="*/ 243 w 243"/>
                <a:gd name="T121" fmla="*/ 48 h 103"/>
                <a:gd name="T122" fmla="*/ 243 w 243"/>
                <a:gd name="T123" fmla="*/ 1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43" h="103">
                  <a:moveTo>
                    <a:pt x="243" y="1"/>
                  </a:moveTo>
                  <a:cubicBezTo>
                    <a:pt x="243" y="2"/>
                    <a:pt x="243" y="2"/>
                    <a:pt x="243" y="2"/>
                  </a:cubicBezTo>
                  <a:cubicBezTo>
                    <a:pt x="243" y="3"/>
                    <a:pt x="243" y="3"/>
                    <a:pt x="243" y="3"/>
                  </a:cubicBezTo>
                  <a:cubicBezTo>
                    <a:pt x="243" y="4"/>
                    <a:pt x="243" y="4"/>
                    <a:pt x="243" y="4"/>
                  </a:cubicBezTo>
                  <a:cubicBezTo>
                    <a:pt x="243" y="5"/>
                    <a:pt x="243" y="5"/>
                    <a:pt x="243" y="5"/>
                  </a:cubicBezTo>
                  <a:cubicBezTo>
                    <a:pt x="243" y="6"/>
                    <a:pt x="243" y="6"/>
                    <a:pt x="243" y="6"/>
                  </a:cubicBezTo>
                  <a:cubicBezTo>
                    <a:pt x="242" y="7"/>
                    <a:pt x="242" y="7"/>
                    <a:pt x="242" y="8"/>
                  </a:cubicBezTo>
                  <a:cubicBezTo>
                    <a:pt x="242" y="8"/>
                    <a:pt x="242" y="8"/>
                    <a:pt x="242" y="9"/>
                  </a:cubicBezTo>
                  <a:cubicBezTo>
                    <a:pt x="242" y="9"/>
                    <a:pt x="242" y="9"/>
                    <a:pt x="241" y="10"/>
                  </a:cubicBezTo>
                  <a:cubicBezTo>
                    <a:pt x="241" y="10"/>
                    <a:pt x="241" y="10"/>
                    <a:pt x="241" y="11"/>
                  </a:cubicBezTo>
                  <a:cubicBezTo>
                    <a:pt x="241" y="11"/>
                    <a:pt x="241" y="11"/>
                    <a:pt x="241" y="12"/>
                  </a:cubicBezTo>
                  <a:cubicBezTo>
                    <a:pt x="240" y="12"/>
                    <a:pt x="240" y="12"/>
                    <a:pt x="240" y="13"/>
                  </a:cubicBezTo>
                  <a:cubicBezTo>
                    <a:pt x="240" y="13"/>
                    <a:pt x="240" y="13"/>
                    <a:pt x="239" y="14"/>
                  </a:cubicBezTo>
                  <a:cubicBezTo>
                    <a:pt x="239" y="14"/>
                    <a:pt x="239" y="14"/>
                    <a:pt x="239" y="15"/>
                  </a:cubicBezTo>
                  <a:cubicBezTo>
                    <a:pt x="239" y="15"/>
                    <a:pt x="238" y="15"/>
                    <a:pt x="238" y="16"/>
                  </a:cubicBezTo>
                  <a:cubicBezTo>
                    <a:pt x="238" y="16"/>
                    <a:pt x="238" y="17"/>
                    <a:pt x="237" y="17"/>
                  </a:cubicBezTo>
                  <a:cubicBezTo>
                    <a:pt x="237" y="17"/>
                    <a:pt x="237" y="17"/>
                    <a:pt x="237" y="18"/>
                  </a:cubicBezTo>
                  <a:cubicBezTo>
                    <a:pt x="236" y="18"/>
                    <a:pt x="236" y="19"/>
                    <a:pt x="235" y="19"/>
                  </a:cubicBezTo>
                  <a:cubicBezTo>
                    <a:pt x="235" y="20"/>
                    <a:pt x="235" y="20"/>
                    <a:pt x="235" y="20"/>
                  </a:cubicBezTo>
                  <a:cubicBezTo>
                    <a:pt x="234" y="21"/>
                    <a:pt x="233" y="21"/>
                    <a:pt x="232" y="22"/>
                  </a:cubicBezTo>
                  <a:cubicBezTo>
                    <a:pt x="232" y="23"/>
                    <a:pt x="232" y="23"/>
                    <a:pt x="231" y="23"/>
                  </a:cubicBezTo>
                  <a:cubicBezTo>
                    <a:pt x="231" y="24"/>
                    <a:pt x="231" y="24"/>
                    <a:pt x="230" y="24"/>
                  </a:cubicBezTo>
                  <a:cubicBezTo>
                    <a:pt x="230" y="24"/>
                    <a:pt x="229" y="25"/>
                    <a:pt x="229" y="25"/>
                  </a:cubicBezTo>
                  <a:cubicBezTo>
                    <a:pt x="228" y="26"/>
                    <a:pt x="228" y="26"/>
                    <a:pt x="228" y="26"/>
                  </a:cubicBezTo>
                  <a:cubicBezTo>
                    <a:pt x="227" y="26"/>
                    <a:pt x="226" y="27"/>
                    <a:pt x="226" y="28"/>
                  </a:cubicBezTo>
                  <a:cubicBezTo>
                    <a:pt x="225" y="28"/>
                    <a:pt x="225" y="28"/>
                    <a:pt x="225" y="28"/>
                  </a:cubicBezTo>
                  <a:cubicBezTo>
                    <a:pt x="224" y="28"/>
                    <a:pt x="224" y="29"/>
                    <a:pt x="223" y="29"/>
                  </a:cubicBezTo>
                  <a:cubicBezTo>
                    <a:pt x="222" y="30"/>
                    <a:pt x="221" y="30"/>
                    <a:pt x="220" y="31"/>
                  </a:cubicBezTo>
                  <a:cubicBezTo>
                    <a:pt x="219" y="31"/>
                    <a:pt x="218" y="32"/>
                    <a:pt x="217" y="32"/>
                  </a:cubicBezTo>
                  <a:cubicBezTo>
                    <a:pt x="217" y="32"/>
                    <a:pt x="216" y="33"/>
                    <a:pt x="216" y="33"/>
                  </a:cubicBezTo>
                  <a:cubicBezTo>
                    <a:pt x="215" y="33"/>
                    <a:pt x="215" y="33"/>
                    <a:pt x="214" y="34"/>
                  </a:cubicBezTo>
                  <a:cubicBezTo>
                    <a:pt x="214" y="34"/>
                    <a:pt x="213" y="34"/>
                    <a:pt x="213" y="34"/>
                  </a:cubicBezTo>
                  <a:cubicBezTo>
                    <a:pt x="212" y="35"/>
                    <a:pt x="211" y="35"/>
                    <a:pt x="210" y="35"/>
                  </a:cubicBezTo>
                  <a:cubicBezTo>
                    <a:pt x="210" y="35"/>
                    <a:pt x="210" y="35"/>
                    <a:pt x="209" y="36"/>
                  </a:cubicBezTo>
                  <a:cubicBezTo>
                    <a:pt x="208" y="36"/>
                    <a:pt x="207" y="36"/>
                    <a:pt x="206" y="37"/>
                  </a:cubicBezTo>
                  <a:cubicBezTo>
                    <a:pt x="206" y="37"/>
                    <a:pt x="206" y="37"/>
                    <a:pt x="205" y="37"/>
                  </a:cubicBezTo>
                  <a:cubicBezTo>
                    <a:pt x="205" y="37"/>
                    <a:pt x="204" y="37"/>
                    <a:pt x="203" y="38"/>
                  </a:cubicBezTo>
                  <a:cubicBezTo>
                    <a:pt x="203" y="38"/>
                    <a:pt x="202" y="38"/>
                    <a:pt x="202" y="38"/>
                  </a:cubicBezTo>
                  <a:cubicBezTo>
                    <a:pt x="201" y="38"/>
                    <a:pt x="200" y="38"/>
                    <a:pt x="200" y="39"/>
                  </a:cubicBezTo>
                  <a:cubicBezTo>
                    <a:pt x="199" y="39"/>
                    <a:pt x="199" y="39"/>
                    <a:pt x="198" y="39"/>
                  </a:cubicBezTo>
                  <a:cubicBezTo>
                    <a:pt x="198" y="39"/>
                    <a:pt x="197" y="39"/>
                    <a:pt x="196" y="39"/>
                  </a:cubicBezTo>
                  <a:cubicBezTo>
                    <a:pt x="196" y="39"/>
                    <a:pt x="195" y="40"/>
                    <a:pt x="195" y="40"/>
                  </a:cubicBezTo>
                  <a:cubicBezTo>
                    <a:pt x="194" y="40"/>
                    <a:pt x="194" y="40"/>
                    <a:pt x="193" y="40"/>
                  </a:cubicBezTo>
                  <a:cubicBezTo>
                    <a:pt x="193" y="40"/>
                    <a:pt x="192" y="40"/>
                    <a:pt x="192" y="40"/>
                  </a:cubicBezTo>
                  <a:cubicBezTo>
                    <a:pt x="191" y="40"/>
                    <a:pt x="189" y="41"/>
                    <a:pt x="188" y="41"/>
                  </a:cubicBezTo>
                  <a:cubicBezTo>
                    <a:pt x="188" y="41"/>
                    <a:pt x="188" y="41"/>
                    <a:pt x="188" y="41"/>
                  </a:cubicBezTo>
                  <a:cubicBezTo>
                    <a:pt x="186" y="41"/>
                    <a:pt x="185" y="41"/>
                    <a:pt x="183" y="41"/>
                  </a:cubicBezTo>
                  <a:cubicBezTo>
                    <a:pt x="183" y="41"/>
                    <a:pt x="183" y="41"/>
                    <a:pt x="182" y="41"/>
                  </a:cubicBezTo>
                  <a:cubicBezTo>
                    <a:pt x="181" y="42"/>
                    <a:pt x="180" y="42"/>
                    <a:pt x="180" y="42"/>
                  </a:cubicBezTo>
                  <a:cubicBezTo>
                    <a:pt x="179" y="42"/>
                    <a:pt x="179" y="42"/>
                    <a:pt x="178" y="42"/>
                  </a:cubicBezTo>
                  <a:cubicBezTo>
                    <a:pt x="177" y="42"/>
                    <a:pt x="176" y="42"/>
                    <a:pt x="175" y="42"/>
                  </a:cubicBezTo>
                  <a:cubicBezTo>
                    <a:pt x="175" y="42"/>
                    <a:pt x="175" y="42"/>
                    <a:pt x="174" y="42"/>
                  </a:cubicBezTo>
                  <a:cubicBezTo>
                    <a:pt x="173" y="42"/>
                    <a:pt x="172" y="42"/>
                    <a:pt x="171" y="42"/>
                  </a:cubicBezTo>
                  <a:cubicBezTo>
                    <a:pt x="171" y="42"/>
                    <a:pt x="171" y="42"/>
                    <a:pt x="171" y="42"/>
                  </a:cubicBezTo>
                  <a:cubicBezTo>
                    <a:pt x="170" y="42"/>
                    <a:pt x="169" y="42"/>
                    <a:pt x="167" y="42"/>
                  </a:cubicBezTo>
                  <a:cubicBezTo>
                    <a:pt x="167" y="42"/>
                    <a:pt x="166" y="42"/>
                    <a:pt x="166" y="42"/>
                  </a:cubicBezTo>
                  <a:cubicBezTo>
                    <a:pt x="165" y="42"/>
                    <a:pt x="165" y="42"/>
                    <a:pt x="164" y="42"/>
                  </a:cubicBezTo>
                  <a:cubicBezTo>
                    <a:pt x="163" y="42"/>
                    <a:pt x="163" y="42"/>
                    <a:pt x="162" y="42"/>
                  </a:cubicBezTo>
                  <a:cubicBezTo>
                    <a:pt x="162" y="42"/>
                    <a:pt x="161" y="42"/>
                    <a:pt x="160" y="42"/>
                  </a:cubicBezTo>
                  <a:cubicBezTo>
                    <a:pt x="160" y="42"/>
                    <a:pt x="159" y="42"/>
                    <a:pt x="159" y="42"/>
                  </a:cubicBezTo>
                  <a:cubicBezTo>
                    <a:pt x="158" y="41"/>
                    <a:pt x="158" y="41"/>
                    <a:pt x="157" y="41"/>
                  </a:cubicBezTo>
                  <a:cubicBezTo>
                    <a:pt x="156" y="41"/>
                    <a:pt x="156" y="41"/>
                    <a:pt x="155" y="41"/>
                  </a:cubicBezTo>
                  <a:cubicBezTo>
                    <a:pt x="155" y="41"/>
                    <a:pt x="154" y="41"/>
                    <a:pt x="153" y="41"/>
                  </a:cubicBezTo>
                  <a:cubicBezTo>
                    <a:pt x="153" y="41"/>
                    <a:pt x="152" y="41"/>
                    <a:pt x="152" y="41"/>
                  </a:cubicBezTo>
                  <a:cubicBezTo>
                    <a:pt x="151" y="41"/>
                    <a:pt x="151" y="40"/>
                    <a:pt x="150" y="40"/>
                  </a:cubicBezTo>
                  <a:cubicBezTo>
                    <a:pt x="149" y="40"/>
                    <a:pt x="149" y="40"/>
                    <a:pt x="148" y="40"/>
                  </a:cubicBezTo>
                  <a:cubicBezTo>
                    <a:pt x="148" y="40"/>
                    <a:pt x="147" y="40"/>
                    <a:pt x="146" y="40"/>
                  </a:cubicBezTo>
                  <a:cubicBezTo>
                    <a:pt x="146" y="40"/>
                    <a:pt x="146" y="40"/>
                    <a:pt x="145" y="39"/>
                  </a:cubicBezTo>
                  <a:cubicBezTo>
                    <a:pt x="144" y="39"/>
                    <a:pt x="143" y="39"/>
                    <a:pt x="142" y="39"/>
                  </a:cubicBezTo>
                  <a:cubicBezTo>
                    <a:pt x="141" y="39"/>
                    <a:pt x="141" y="39"/>
                    <a:pt x="141" y="39"/>
                  </a:cubicBezTo>
                  <a:cubicBezTo>
                    <a:pt x="140" y="38"/>
                    <a:pt x="139" y="38"/>
                    <a:pt x="138" y="38"/>
                  </a:cubicBezTo>
                  <a:cubicBezTo>
                    <a:pt x="138" y="38"/>
                    <a:pt x="137" y="38"/>
                    <a:pt x="137" y="37"/>
                  </a:cubicBezTo>
                  <a:cubicBezTo>
                    <a:pt x="136" y="37"/>
                    <a:pt x="135" y="37"/>
                    <a:pt x="134" y="36"/>
                  </a:cubicBezTo>
                  <a:cubicBezTo>
                    <a:pt x="134" y="36"/>
                    <a:pt x="133" y="36"/>
                    <a:pt x="133" y="36"/>
                  </a:cubicBezTo>
                  <a:cubicBezTo>
                    <a:pt x="132" y="36"/>
                    <a:pt x="130" y="35"/>
                    <a:pt x="129" y="35"/>
                  </a:cubicBezTo>
                  <a:cubicBezTo>
                    <a:pt x="129" y="35"/>
                    <a:pt x="129" y="35"/>
                    <a:pt x="128" y="34"/>
                  </a:cubicBezTo>
                  <a:cubicBezTo>
                    <a:pt x="127" y="34"/>
                    <a:pt x="126" y="34"/>
                    <a:pt x="126" y="33"/>
                  </a:cubicBezTo>
                  <a:cubicBezTo>
                    <a:pt x="125" y="33"/>
                    <a:pt x="125" y="33"/>
                    <a:pt x="125" y="33"/>
                  </a:cubicBezTo>
                  <a:cubicBezTo>
                    <a:pt x="123" y="32"/>
                    <a:pt x="122" y="32"/>
                    <a:pt x="121" y="31"/>
                  </a:cubicBezTo>
                  <a:cubicBezTo>
                    <a:pt x="120" y="31"/>
                    <a:pt x="119" y="30"/>
                    <a:pt x="118" y="30"/>
                  </a:cubicBezTo>
                  <a:cubicBezTo>
                    <a:pt x="111" y="25"/>
                    <a:pt x="105" y="20"/>
                    <a:pt x="102" y="15"/>
                  </a:cubicBezTo>
                  <a:cubicBezTo>
                    <a:pt x="101" y="14"/>
                    <a:pt x="100" y="12"/>
                    <a:pt x="98" y="12"/>
                  </a:cubicBezTo>
                  <a:cubicBezTo>
                    <a:pt x="98" y="11"/>
                    <a:pt x="97" y="11"/>
                    <a:pt x="97" y="11"/>
                  </a:cubicBezTo>
                  <a:cubicBezTo>
                    <a:pt x="97" y="11"/>
                    <a:pt x="97" y="11"/>
                    <a:pt x="97" y="11"/>
                  </a:cubicBezTo>
                  <a:cubicBezTo>
                    <a:pt x="96" y="11"/>
                    <a:pt x="96" y="11"/>
                    <a:pt x="96" y="11"/>
                  </a:cubicBezTo>
                  <a:cubicBezTo>
                    <a:pt x="96" y="11"/>
                    <a:pt x="96" y="11"/>
                    <a:pt x="96" y="11"/>
                  </a:cubicBezTo>
                  <a:cubicBezTo>
                    <a:pt x="95" y="10"/>
                    <a:pt x="95" y="10"/>
                    <a:pt x="94" y="10"/>
                  </a:cubicBezTo>
                  <a:cubicBezTo>
                    <a:pt x="94" y="10"/>
                    <a:pt x="94" y="10"/>
                    <a:pt x="94" y="10"/>
                  </a:cubicBezTo>
                  <a:cubicBezTo>
                    <a:pt x="94" y="10"/>
                    <a:pt x="94" y="10"/>
                    <a:pt x="94" y="10"/>
                  </a:cubicBezTo>
                  <a:cubicBezTo>
                    <a:pt x="93" y="10"/>
                    <a:pt x="93" y="10"/>
                    <a:pt x="93" y="10"/>
                  </a:cubicBezTo>
                  <a:cubicBezTo>
                    <a:pt x="93" y="10"/>
                    <a:pt x="93" y="10"/>
                    <a:pt x="92" y="10"/>
                  </a:cubicBezTo>
                  <a:cubicBezTo>
                    <a:pt x="92" y="10"/>
                    <a:pt x="92" y="10"/>
                    <a:pt x="92" y="10"/>
                  </a:cubicBezTo>
                  <a:cubicBezTo>
                    <a:pt x="92" y="9"/>
                    <a:pt x="92" y="9"/>
                    <a:pt x="91" y="9"/>
                  </a:cubicBezTo>
                  <a:cubicBezTo>
                    <a:pt x="91" y="9"/>
                    <a:pt x="91" y="9"/>
                    <a:pt x="91" y="9"/>
                  </a:cubicBezTo>
                  <a:cubicBezTo>
                    <a:pt x="91" y="9"/>
                    <a:pt x="91" y="9"/>
                    <a:pt x="91" y="9"/>
                  </a:cubicBezTo>
                  <a:cubicBezTo>
                    <a:pt x="90" y="9"/>
                    <a:pt x="90" y="9"/>
                    <a:pt x="90" y="9"/>
                  </a:cubicBezTo>
                  <a:cubicBezTo>
                    <a:pt x="90" y="9"/>
                    <a:pt x="90" y="9"/>
                    <a:pt x="89" y="9"/>
                  </a:cubicBezTo>
                  <a:cubicBezTo>
                    <a:pt x="89" y="9"/>
                    <a:pt x="89" y="9"/>
                    <a:pt x="89" y="9"/>
                  </a:cubicBezTo>
                  <a:cubicBezTo>
                    <a:pt x="89" y="9"/>
                    <a:pt x="89" y="9"/>
                    <a:pt x="88" y="9"/>
                  </a:cubicBezTo>
                  <a:cubicBezTo>
                    <a:pt x="88" y="9"/>
                    <a:pt x="88" y="9"/>
                    <a:pt x="88" y="9"/>
                  </a:cubicBezTo>
                  <a:cubicBezTo>
                    <a:pt x="88" y="9"/>
                    <a:pt x="88" y="9"/>
                    <a:pt x="88" y="9"/>
                  </a:cubicBezTo>
                  <a:cubicBezTo>
                    <a:pt x="87" y="9"/>
                    <a:pt x="87" y="9"/>
                    <a:pt x="87" y="9"/>
                  </a:cubicBezTo>
                  <a:cubicBezTo>
                    <a:pt x="87" y="9"/>
                    <a:pt x="86" y="9"/>
                    <a:pt x="86" y="9"/>
                  </a:cubicBezTo>
                  <a:cubicBezTo>
                    <a:pt x="86" y="9"/>
                    <a:pt x="86" y="9"/>
                    <a:pt x="86" y="9"/>
                  </a:cubicBezTo>
                  <a:cubicBezTo>
                    <a:pt x="86" y="9"/>
                    <a:pt x="85" y="9"/>
                    <a:pt x="85" y="9"/>
                  </a:cubicBezTo>
                  <a:cubicBezTo>
                    <a:pt x="85" y="9"/>
                    <a:pt x="85" y="9"/>
                    <a:pt x="85" y="9"/>
                  </a:cubicBezTo>
                  <a:cubicBezTo>
                    <a:pt x="84" y="9"/>
                    <a:pt x="84" y="9"/>
                    <a:pt x="84" y="9"/>
                  </a:cubicBezTo>
                  <a:cubicBezTo>
                    <a:pt x="84" y="9"/>
                    <a:pt x="83" y="9"/>
                    <a:pt x="83" y="9"/>
                  </a:cubicBezTo>
                  <a:cubicBezTo>
                    <a:pt x="83" y="9"/>
                    <a:pt x="83" y="9"/>
                    <a:pt x="83" y="9"/>
                  </a:cubicBezTo>
                  <a:cubicBezTo>
                    <a:pt x="82" y="9"/>
                    <a:pt x="82" y="10"/>
                    <a:pt x="82" y="10"/>
                  </a:cubicBezTo>
                  <a:cubicBezTo>
                    <a:pt x="82" y="10"/>
                    <a:pt x="82" y="10"/>
                    <a:pt x="81" y="10"/>
                  </a:cubicBezTo>
                  <a:cubicBezTo>
                    <a:pt x="81" y="10"/>
                    <a:pt x="81" y="10"/>
                    <a:pt x="81" y="10"/>
                  </a:cubicBezTo>
                  <a:cubicBezTo>
                    <a:pt x="80" y="10"/>
                    <a:pt x="80" y="10"/>
                    <a:pt x="80" y="10"/>
                  </a:cubicBezTo>
                  <a:cubicBezTo>
                    <a:pt x="80" y="10"/>
                    <a:pt x="80" y="10"/>
                    <a:pt x="80" y="10"/>
                  </a:cubicBezTo>
                  <a:cubicBezTo>
                    <a:pt x="80" y="10"/>
                    <a:pt x="79" y="10"/>
                    <a:pt x="79" y="10"/>
                  </a:cubicBezTo>
                  <a:cubicBezTo>
                    <a:pt x="79" y="10"/>
                    <a:pt x="79" y="11"/>
                    <a:pt x="78" y="11"/>
                  </a:cubicBezTo>
                  <a:cubicBezTo>
                    <a:pt x="78" y="11"/>
                    <a:pt x="78" y="11"/>
                    <a:pt x="78" y="11"/>
                  </a:cubicBezTo>
                  <a:cubicBezTo>
                    <a:pt x="77" y="11"/>
                    <a:pt x="77" y="11"/>
                    <a:pt x="76" y="12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103"/>
                    <a:pt x="0" y="103"/>
                    <a:pt x="0" y="103"/>
                  </a:cubicBezTo>
                  <a:cubicBezTo>
                    <a:pt x="76" y="59"/>
                    <a:pt x="76" y="59"/>
                    <a:pt x="76" y="59"/>
                  </a:cubicBezTo>
                  <a:cubicBezTo>
                    <a:pt x="77" y="58"/>
                    <a:pt x="77" y="58"/>
                    <a:pt x="78" y="58"/>
                  </a:cubicBezTo>
                  <a:cubicBezTo>
                    <a:pt x="78" y="58"/>
                    <a:pt x="78" y="58"/>
                    <a:pt x="78" y="58"/>
                  </a:cubicBezTo>
                  <a:cubicBezTo>
                    <a:pt x="78" y="57"/>
                    <a:pt x="79" y="57"/>
                    <a:pt x="79" y="57"/>
                  </a:cubicBezTo>
                  <a:cubicBezTo>
                    <a:pt x="79" y="57"/>
                    <a:pt x="80" y="57"/>
                    <a:pt x="80" y="57"/>
                  </a:cubicBezTo>
                  <a:cubicBezTo>
                    <a:pt x="80" y="57"/>
                    <a:pt x="80" y="57"/>
                    <a:pt x="80" y="57"/>
                  </a:cubicBezTo>
                  <a:cubicBezTo>
                    <a:pt x="81" y="57"/>
                    <a:pt x="81" y="57"/>
                    <a:pt x="81" y="57"/>
                  </a:cubicBezTo>
                  <a:cubicBezTo>
                    <a:pt x="81" y="57"/>
                    <a:pt x="82" y="56"/>
                    <a:pt x="82" y="56"/>
                  </a:cubicBezTo>
                  <a:cubicBezTo>
                    <a:pt x="82" y="56"/>
                    <a:pt x="82" y="56"/>
                    <a:pt x="83" y="56"/>
                  </a:cubicBezTo>
                  <a:cubicBezTo>
                    <a:pt x="83" y="56"/>
                    <a:pt x="84" y="56"/>
                    <a:pt x="84" y="56"/>
                  </a:cubicBezTo>
                  <a:cubicBezTo>
                    <a:pt x="84" y="56"/>
                    <a:pt x="85" y="56"/>
                    <a:pt x="85" y="56"/>
                  </a:cubicBezTo>
                  <a:cubicBezTo>
                    <a:pt x="85" y="56"/>
                    <a:pt x="86" y="56"/>
                    <a:pt x="86" y="56"/>
                  </a:cubicBezTo>
                  <a:cubicBezTo>
                    <a:pt x="86" y="56"/>
                    <a:pt x="86" y="56"/>
                    <a:pt x="87" y="56"/>
                  </a:cubicBezTo>
                  <a:cubicBezTo>
                    <a:pt x="87" y="56"/>
                    <a:pt x="87" y="56"/>
                    <a:pt x="87" y="56"/>
                  </a:cubicBezTo>
                  <a:cubicBezTo>
                    <a:pt x="88" y="56"/>
                    <a:pt x="88" y="56"/>
                    <a:pt x="88" y="56"/>
                  </a:cubicBezTo>
                  <a:cubicBezTo>
                    <a:pt x="88" y="56"/>
                    <a:pt x="89" y="56"/>
                    <a:pt x="89" y="56"/>
                  </a:cubicBezTo>
                  <a:cubicBezTo>
                    <a:pt x="89" y="56"/>
                    <a:pt x="89" y="56"/>
                    <a:pt x="90" y="56"/>
                  </a:cubicBezTo>
                  <a:cubicBezTo>
                    <a:pt x="90" y="56"/>
                    <a:pt x="90" y="56"/>
                    <a:pt x="91" y="56"/>
                  </a:cubicBezTo>
                  <a:cubicBezTo>
                    <a:pt x="91" y="56"/>
                    <a:pt x="91" y="56"/>
                    <a:pt x="91" y="56"/>
                  </a:cubicBezTo>
                  <a:cubicBezTo>
                    <a:pt x="91" y="56"/>
                    <a:pt x="92" y="56"/>
                    <a:pt x="92" y="56"/>
                  </a:cubicBezTo>
                  <a:cubicBezTo>
                    <a:pt x="92" y="56"/>
                    <a:pt x="92" y="56"/>
                    <a:pt x="93" y="56"/>
                  </a:cubicBezTo>
                  <a:cubicBezTo>
                    <a:pt x="93" y="57"/>
                    <a:pt x="93" y="57"/>
                    <a:pt x="94" y="57"/>
                  </a:cubicBezTo>
                  <a:cubicBezTo>
                    <a:pt x="94" y="57"/>
                    <a:pt x="94" y="57"/>
                    <a:pt x="94" y="57"/>
                  </a:cubicBezTo>
                  <a:cubicBezTo>
                    <a:pt x="95" y="57"/>
                    <a:pt x="95" y="57"/>
                    <a:pt x="96" y="57"/>
                  </a:cubicBezTo>
                  <a:cubicBezTo>
                    <a:pt x="96" y="58"/>
                    <a:pt x="96" y="58"/>
                    <a:pt x="97" y="58"/>
                  </a:cubicBezTo>
                  <a:cubicBezTo>
                    <a:pt x="97" y="58"/>
                    <a:pt x="97" y="58"/>
                    <a:pt x="97" y="58"/>
                  </a:cubicBezTo>
                  <a:cubicBezTo>
                    <a:pt x="97" y="58"/>
                    <a:pt x="98" y="58"/>
                    <a:pt x="98" y="58"/>
                  </a:cubicBezTo>
                  <a:cubicBezTo>
                    <a:pt x="99" y="59"/>
                    <a:pt x="101" y="60"/>
                    <a:pt x="102" y="62"/>
                  </a:cubicBezTo>
                  <a:cubicBezTo>
                    <a:pt x="105" y="67"/>
                    <a:pt x="111" y="72"/>
                    <a:pt x="118" y="76"/>
                  </a:cubicBezTo>
                  <a:cubicBezTo>
                    <a:pt x="119" y="77"/>
                    <a:pt x="120" y="78"/>
                    <a:pt x="121" y="78"/>
                  </a:cubicBezTo>
                  <a:cubicBezTo>
                    <a:pt x="122" y="79"/>
                    <a:pt x="123" y="79"/>
                    <a:pt x="124" y="80"/>
                  </a:cubicBezTo>
                  <a:cubicBezTo>
                    <a:pt x="125" y="80"/>
                    <a:pt x="125" y="80"/>
                    <a:pt x="125" y="80"/>
                  </a:cubicBezTo>
                  <a:cubicBezTo>
                    <a:pt x="126" y="81"/>
                    <a:pt x="127" y="81"/>
                    <a:pt x="128" y="81"/>
                  </a:cubicBezTo>
                  <a:cubicBezTo>
                    <a:pt x="128" y="81"/>
                    <a:pt x="129" y="81"/>
                    <a:pt x="129" y="82"/>
                  </a:cubicBezTo>
                  <a:cubicBezTo>
                    <a:pt x="129" y="82"/>
                    <a:pt x="129" y="82"/>
                    <a:pt x="129" y="82"/>
                  </a:cubicBezTo>
                  <a:cubicBezTo>
                    <a:pt x="130" y="82"/>
                    <a:pt x="132" y="83"/>
                    <a:pt x="133" y="83"/>
                  </a:cubicBezTo>
                  <a:cubicBezTo>
                    <a:pt x="133" y="83"/>
                    <a:pt x="133" y="83"/>
                    <a:pt x="134" y="83"/>
                  </a:cubicBezTo>
                  <a:cubicBezTo>
                    <a:pt x="135" y="84"/>
                    <a:pt x="136" y="84"/>
                    <a:pt x="137" y="84"/>
                  </a:cubicBezTo>
                  <a:cubicBezTo>
                    <a:pt x="137" y="84"/>
                    <a:pt x="137" y="84"/>
                    <a:pt x="138" y="85"/>
                  </a:cubicBezTo>
                  <a:cubicBezTo>
                    <a:pt x="138" y="85"/>
                    <a:pt x="138" y="85"/>
                    <a:pt x="138" y="85"/>
                  </a:cubicBezTo>
                  <a:cubicBezTo>
                    <a:pt x="139" y="85"/>
                    <a:pt x="140" y="85"/>
                    <a:pt x="141" y="85"/>
                  </a:cubicBezTo>
                  <a:cubicBezTo>
                    <a:pt x="141" y="85"/>
                    <a:pt x="141" y="86"/>
                    <a:pt x="141" y="86"/>
                  </a:cubicBezTo>
                  <a:cubicBezTo>
                    <a:pt x="143" y="86"/>
                    <a:pt x="144" y="86"/>
                    <a:pt x="145" y="86"/>
                  </a:cubicBezTo>
                  <a:cubicBezTo>
                    <a:pt x="145" y="86"/>
                    <a:pt x="145" y="86"/>
                    <a:pt x="145" y="86"/>
                  </a:cubicBezTo>
                  <a:cubicBezTo>
                    <a:pt x="146" y="86"/>
                    <a:pt x="146" y="87"/>
                    <a:pt x="146" y="87"/>
                  </a:cubicBezTo>
                  <a:cubicBezTo>
                    <a:pt x="147" y="87"/>
                    <a:pt x="148" y="87"/>
                    <a:pt x="148" y="87"/>
                  </a:cubicBezTo>
                  <a:cubicBezTo>
                    <a:pt x="149" y="87"/>
                    <a:pt x="149" y="87"/>
                    <a:pt x="150" y="87"/>
                  </a:cubicBezTo>
                  <a:cubicBezTo>
                    <a:pt x="150" y="87"/>
                    <a:pt x="151" y="87"/>
                    <a:pt x="152" y="88"/>
                  </a:cubicBezTo>
                  <a:cubicBezTo>
                    <a:pt x="152" y="88"/>
                    <a:pt x="152" y="88"/>
                    <a:pt x="153" y="88"/>
                  </a:cubicBezTo>
                  <a:cubicBezTo>
                    <a:pt x="153" y="88"/>
                    <a:pt x="153" y="88"/>
                    <a:pt x="153" y="88"/>
                  </a:cubicBezTo>
                  <a:cubicBezTo>
                    <a:pt x="154" y="88"/>
                    <a:pt x="155" y="88"/>
                    <a:pt x="155" y="88"/>
                  </a:cubicBezTo>
                  <a:cubicBezTo>
                    <a:pt x="156" y="88"/>
                    <a:pt x="156" y="88"/>
                    <a:pt x="157" y="88"/>
                  </a:cubicBezTo>
                  <a:cubicBezTo>
                    <a:pt x="157" y="88"/>
                    <a:pt x="158" y="88"/>
                    <a:pt x="159" y="88"/>
                  </a:cubicBezTo>
                  <a:cubicBezTo>
                    <a:pt x="159" y="88"/>
                    <a:pt x="159" y="88"/>
                    <a:pt x="160" y="88"/>
                  </a:cubicBezTo>
                  <a:cubicBezTo>
                    <a:pt x="160" y="88"/>
                    <a:pt x="160" y="88"/>
                    <a:pt x="160" y="88"/>
                  </a:cubicBezTo>
                  <a:cubicBezTo>
                    <a:pt x="161" y="89"/>
                    <a:pt x="162" y="89"/>
                    <a:pt x="162" y="89"/>
                  </a:cubicBezTo>
                  <a:cubicBezTo>
                    <a:pt x="163" y="89"/>
                    <a:pt x="163" y="89"/>
                    <a:pt x="164" y="89"/>
                  </a:cubicBezTo>
                  <a:cubicBezTo>
                    <a:pt x="164" y="89"/>
                    <a:pt x="165" y="89"/>
                    <a:pt x="166" y="89"/>
                  </a:cubicBezTo>
                  <a:cubicBezTo>
                    <a:pt x="166" y="89"/>
                    <a:pt x="167" y="89"/>
                    <a:pt x="167" y="89"/>
                  </a:cubicBezTo>
                  <a:cubicBezTo>
                    <a:pt x="167" y="89"/>
                    <a:pt x="167" y="89"/>
                    <a:pt x="167" y="89"/>
                  </a:cubicBezTo>
                  <a:cubicBezTo>
                    <a:pt x="168" y="89"/>
                    <a:pt x="170" y="89"/>
                    <a:pt x="171" y="89"/>
                  </a:cubicBezTo>
                  <a:cubicBezTo>
                    <a:pt x="171" y="89"/>
                    <a:pt x="171" y="89"/>
                    <a:pt x="171" y="89"/>
                  </a:cubicBezTo>
                  <a:cubicBezTo>
                    <a:pt x="172" y="89"/>
                    <a:pt x="173" y="89"/>
                    <a:pt x="174" y="89"/>
                  </a:cubicBezTo>
                  <a:cubicBezTo>
                    <a:pt x="174" y="89"/>
                    <a:pt x="175" y="89"/>
                    <a:pt x="175" y="89"/>
                  </a:cubicBezTo>
                  <a:cubicBezTo>
                    <a:pt x="175" y="89"/>
                    <a:pt x="175" y="89"/>
                    <a:pt x="175" y="89"/>
                  </a:cubicBezTo>
                  <a:cubicBezTo>
                    <a:pt x="176" y="89"/>
                    <a:pt x="177" y="89"/>
                    <a:pt x="178" y="89"/>
                  </a:cubicBezTo>
                  <a:cubicBezTo>
                    <a:pt x="179" y="89"/>
                    <a:pt x="179" y="89"/>
                    <a:pt x="179" y="89"/>
                  </a:cubicBezTo>
                  <a:cubicBezTo>
                    <a:pt x="180" y="88"/>
                    <a:pt x="181" y="88"/>
                    <a:pt x="182" y="88"/>
                  </a:cubicBezTo>
                  <a:cubicBezTo>
                    <a:pt x="182" y="88"/>
                    <a:pt x="183" y="88"/>
                    <a:pt x="183" y="88"/>
                  </a:cubicBezTo>
                  <a:cubicBezTo>
                    <a:pt x="183" y="88"/>
                    <a:pt x="183" y="88"/>
                    <a:pt x="183" y="88"/>
                  </a:cubicBezTo>
                  <a:cubicBezTo>
                    <a:pt x="185" y="88"/>
                    <a:pt x="186" y="88"/>
                    <a:pt x="187" y="88"/>
                  </a:cubicBezTo>
                  <a:cubicBezTo>
                    <a:pt x="188" y="88"/>
                    <a:pt x="188" y="88"/>
                    <a:pt x="188" y="88"/>
                  </a:cubicBezTo>
                  <a:cubicBezTo>
                    <a:pt x="189" y="87"/>
                    <a:pt x="190" y="87"/>
                    <a:pt x="192" y="87"/>
                  </a:cubicBezTo>
                  <a:cubicBezTo>
                    <a:pt x="192" y="87"/>
                    <a:pt x="192" y="87"/>
                    <a:pt x="192" y="87"/>
                  </a:cubicBezTo>
                  <a:cubicBezTo>
                    <a:pt x="192" y="87"/>
                    <a:pt x="193" y="87"/>
                    <a:pt x="193" y="87"/>
                  </a:cubicBezTo>
                  <a:cubicBezTo>
                    <a:pt x="194" y="87"/>
                    <a:pt x="194" y="87"/>
                    <a:pt x="195" y="86"/>
                  </a:cubicBezTo>
                  <a:cubicBezTo>
                    <a:pt x="195" y="86"/>
                    <a:pt x="196" y="86"/>
                    <a:pt x="196" y="86"/>
                  </a:cubicBezTo>
                  <a:cubicBezTo>
                    <a:pt x="197" y="86"/>
                    <a:pt x="198" y="86"/>
                    <a:pt x="198" y="86"/>
                  </a:cubicBezTo>
                  <a:cubicBezTo>
                    <a:pt x="199" y="86"/>
                    <a:pt x="199" y="85"/>
                    <a:pt x="200" y="85"/>
                  </a:cubicBezTo>
                  <a:cubicBezTo>
                    <a:pt x="200" y="85"/>
                    <a:pt x="201" y="85"/>
                    <a:pt x="202" y="85"/>
                  </a:cubicBezTo>
                  <a:cubicBezTo>
                    <a:pt x="202" y="85"/>
                    <a:pt x="202" y="85"/>
                    <a:pt x="203" y="85"/>
                  </a:cubicBezTo>
                  <a:cubicBezTo>
                    <a:pt x="204" y="84"/>
                    <a:pt x="204" y="84"/>
                    <a:pt x="205" y="84"/>
                  </a:cubicBezTo>
                  <a:cubicBezTo>
                    <a:pt x="206" y="84"/>
                    <a:pt x="206" y="84"/>
                    <a:pt x="206" y="84"/>
                  </a:cubicBezTo>
                  <a:cubicBezTo>
                    <a:pt x="206" y="84"/>
                    <a:pt x="206" y="84"/>
                    <a:pt x="206" y="84"/>
                  </a:cubicBezTo>
                  <a:cubicBezTo>
                    <a:pt x="207" y="83"/>
                    <a:pt x="208" y="83"/>
                    <a:pt x="209" y="82"/>
                  </a:cubicBezTo>
                  <a:cubicBezTo>
                    <a:pt x="210" y="82"/>
                    <a:pt x="210" y="82"/>
                    <a:pt x="210" y="82"/>
                  </a:cubicBezTo>
                  <a:cubicBezTo>
                    <a:pt x="211" y="82"/>
                    <a:pt x="212" y="81"/>
                    <a:pt x="213" y="81"/>
                  </a:cubicBezTo>
                  <a:cubicBezTo>
                    <a:pt x="213" y="81"/>
                    <a:pt x="213" y="81"/>
                    <a:pt x="214" y="81"/>
                  </a:cubicBezTo>
                  <a:cubicBezTo>
                    <a:pt x="215" y="80"/>
                    <a:pt x="215" y="80"/>
                    <a:pt x="216" y="80"/>
                  </a:cubicBezTo>
                  <a:cubicBezTo>
                    <a:pt x="216" y="79"/>
                    <a:pt x="217" y="79"/>
                    <a:pt x="217" y="79"/>
                  </a:cubicBezTo>
                  <a:cubicBezTo>
                    <a:pt x="218" y="79"/>
                    <a:pt x="219" y="78"/>
                    <a:pt x="220" y="78"/>
                  </a:cubicBezTo>
                  <a:cubicBezTo>
                    <a:pt x="221" y="77"/>
                    <a:pt x="222" y="77"/>
                    <a:pt x="223" y="76"/>
                  </a:cubicBezTo>
                  <a:cubicBezTo>
                    <a:pt x="223" y="76"/>
                    <a:pt x="223" y="76"/>
                    <a:pt x="223" y="76"/>
                  </a:cubicBezTo>
                  <a:cubicBezTo>
                    <a:pt x="224" y="76"/>
                    <a:pt x="224" y="75"/>
                    <a:pt x="225" y="75"/>
                  </a:cubicBezTo>
                  <a:cubicBezTo>
                    <a:pt x="225" y="75"/>
                    <a:pt x="225" y="75"/>
                    <a:pt x="225" y="74"/>
                  </a:cubicBezTo>
                  <a:cubicBezTo>
                    <a:pt x="226" y="74"/>
                    <a:pt x="227" y="73"/>
                    <a:pt x="228" y="73"/>
                  </a:cubicBezTo>
                  <a:cubicBezTo>
                    <a:pt x="228" y="72"/>
                    <a:pt x="228" y="72"/>
                    <a:pt x="229" y="72"/>
                  </a:cubicBezTo>
                  <a:cubicBezTo>
                    <a:pt x="229" y="72"/>
                    <a:pt x="230" y="71"/>
                    <a:pt x="230" y="71"/>
                  </a:cubicBezTo>
                  <a:cubicBezTo>
                    <a:pt x="230" y="71"/>
                    <a:pt x="231" y="70"/>
                    <a:pt x="231" y="70"/>
                  </a:cubicBezTo>
                  <a:cubicBezTo>
                    <a:pt x="231" y="70"/>
                    <a:pt x="232" y="69"/>
                    <a:pt x="232" y="69"/>
                  </a:cubicBezTo>
                  <a:cubicBezTo>
                    <a:pt x="232" y="69"/>
                    <a:pt x="232" y="69"/>
                    <a:pt x="232" y="69"/>
                  </a:cubicBezTo>
                  <a:cubicBezTo>
                    <a:pt x="233" y="68"/>
                    <a:pt x="234" y="68"/>
                    <a:pt x="234" y="67"/>
                  </a:cubicBezTo>
                  <a:cubicBezTo>
                    <a:pt x="235" y="67"/>
                    <a:pt x="235" y="66"/>
                    <a:pt x="235" y="66"/>
                  </a:cubicBezTo>
                  <a:cubicBezTo>
                    <a:pt x="236" y="66"/>
                    <a:pt x="236" y="65"/>
                    <a:pt x="236" y="65"/>
                  </a:cubicBezTo>
                  <a:cubicBezTo>
                    <a:pt x="237" y="64"/>
                    <a:pt x="237" y="64"/>
                    <a:pt x="237" y="64"/>
                  </a:cubicBezTo>
                  <a:cubicBezTo>
                    <a:pt x="237" y="64"/>
                    <a:pt x="237" y="64"/>
                    <a:pt x="237" y="64"/>
                  </a:cubicBezTo>
                  <a:cubicBezTo>
                    <a:pt x="237" y="63"/>
                    <a:pt x="238" y="63"/>
                    <a:pt x="238" y="63"/>
                  </a:cubicBezTo>
                  <a:cubicBezTo>
                    <a:pt x="238" y="62"/>
                    <a:pt x="238" y="62"/>
                    <a:pt x="239" y="62"/>
                  </a:cubicBezTo>
                  <a:cubicBezTo>
                    <a:pt x="239" y="61"/>
                    <a:pt x="239" y="61"/>
                    <a:pt x="239" y="60"/>
                  </a:cubicBezTo>
                  <a:cubicBezTo>
                    <a:pt x="239" y="60"/>
                    <a:pt x="240" y="60"/>
                    <a:pt x="240" y="60"/>
                  </a:cubicBezTo>
                  <a:cubicBezTo>
                    <a:pt x="240" y="60"/>
                    <a:pt x="240" y="60"/>
                    <a:pt x="240" y="60"/>
                  </a:cubicBezTo>
                  <a:cubicBezTo>
                    <a:pt x="240" y="59"/>
                    <a:pt x="240" y="59"/>
                    <a:pt x="240" y="58"/>
                  </a:cubicBezTo>
                  <a:cubicBezTo>
                    <a:pt x="241" y="58"/>
                    <a:pt x="241" y="58"/>
                    <a:pt x="241" y="57"/>
                  </a:cubicBezTo>
                  <a:cubicBezTo>
                    <a:pt x="241" y="57"/>
                    <a:pt x="241" y="57"/>
                    <a:pt x="241" y="56"/>
                  </a:cubicBezTo>
                  <a:cubicBezTo>
                    <a:pt x="241" y="56"/>
                    <a:pt x="242" y="56"/>
                    <a:pt x="242" y="56"/>
                  </a:cubicBezTo>
                  <a:cubicBezTo>
                    <a:pt x="242" y="56"/>
                    <a:pt x="242" y="55"/>
                    <a:pt x="242" y="55"/>
                  </a:cubicBezTo>
                  <a:cubicBezTo>
                    <a:pt x="242" y="55"/>
                    <a:pt x="242" y="55"/>
                    <a:pt x="242" y="54"/>
                  </a:cubicBezTo>
                  <a:cubicBezTo>
                    <a:pt x="242" y="54"/>
                    <a:pt x="242" y="54"/>
                    <a:pt x="242" y="53"/>
                  </a:cubicBezTo>
                  <a:cubicBezTo>
                    <a:pt x="243" y="53"/>
                    <a:pt x="243" y="53"/>
                    <a:pt x="243" y="52"/>
                  </a:cubicBezTo>
                  <a:cubicBezTo>
                    <a:pt x="243" y="52"/>
                    <a:pt x="243" y="52"/>
                    <a:pt x="243" y="52"/>
                  </a:cubicBezTo>
                  <a:cubicBezTo>
                    <a:pt x="243" y="51"/>
                    <a:pt x="243" y="51"/>
                    <a:pt x="243" y="51"/>
                  </a:cubicBezTo>
                  <a:cubicBezTo>
                    <a:pt x="243" y="51"/>
                    <a:pt x="243" y="51"/>
                    <a:pt x="243" y="50"/>
                  </a:cubicBezTo>
                  <a:cubicBezTo>
                    <a:pt x="243" y="50"/>
                    <a:pt x="243" y="49"/>
                    <a:pt x="243" y="49"/>
                  </a:cubicBezTo>
                  <a:cubicBezTo>
                    <a:pt x="243" y="49"/>
                    <a:pt x="243" y="48"/>
                    <a:pt x="243" y="48"/>
                  </a:cubicBezTo>
                  <a:cubicBezTo>
                    <a:pt x="243" y="48"/>
                    <a:pt x="243" y="48"/>
                    <a:pt x="243" y="47"/>
                  </a:cubicBezTo>
                  <a:cubicBezTo>
                    <a:pt x="243" y="47"/>
                    <a:pt x="243" y="47"/>
                    <a:pt x="243" y="47"/>
                  </a:cubicBezTo>
                  <a:cubicBezTo>
                    <a:pt x="243" y="0"/>
                    <a:pt x="243" y="0"/>
                    <a:pt x="243" y="0"/>
                  </a:cubicBezTo>
                  <a:cubicBezTo>
                    <a:pt x="243" y="0"/>
                    <a:pt x="243" y="1"/>
                    <a:pt x="243" y="1"/>
                  </a:cubicBezTo>
                  <a:close/>
                </a:path>
              </a:pathLst>
            </a:custGeom>
            <a:solidFill>
              <a:srgbClr val="0D4D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21">
              <a:extLst>
                <a:ext uri="{FF2B5EF4-FFF2-40B4-BE49-F238E27FC236}">
                  <a16:creationId xmlns:a16="http://schemas.microsoft.com/office/drawing/2014/main" id="{C8A68156-B6DA-4C3A-BB09-AAF73388718C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3251" y="1814513"/>
              <a:ext cx="3378200" cy="1958975"/>
            </a:xfrm>
            <a:custGeom>
              <a:avLst/>
              <a:gdLst>
                <a:gd name="T0" fmla="*/ 536 w 536"/>
                <a:gd name="T1" fmla="*/ 155 h 310"/>
                <a:gd name="T2" fmla="*/ 460 w 536"/>
                <a:gd name="T3" fmla="*/ 199 h 310"/>
                <a:gd name="T4" fmla="*/ 460 w 536"/>
                <a:gd name="T5" fmla="*/ 212 h 310"/>
                <a:gd name="T6" fmla="*/ 465 w 536"/>
                <a:gd name="T7" fmla="*/ 214 h 310"/>
                <a:gd name="T8" fmla="*/ 491 w 536"/>
                <a:gd name="T9" fmla="*/ 224 h 310"/>
                <a:gd name="T10" fmla="*/ 489 w 536"/>
                <a:gd name="T11" fmla="*/ 285 h 310"/>
                <a:gd name="T12" fmla="*/ 390 w 536"/>
                <a:gd name="T13" fmla="*/ 285 h 310"/>
                <a:gd name="T14" fmla="*/ 387 w 536"/>
                <a:gd name="T15" fmla="*/ 284 h 310"/>
                <a:gd name="T16" fmla="*/ 371 w 536"/>
                <a:gd name="T17" fmla="*/ 269 h 310"/>
                <a:gd name="T18" fmla="*/ 367 w 536"/>
                <a:gd name="T19" fmla="*/ 266 h 310"/>
                <a:gd name="T20" fmla="*/ 345 w 536"/>
                <a:gd name="T21" fmla="*/ 266 h 310"/>
                <a:gd name="T22" fmla="*/ 269 w 536"/>
                <a:gd name="T23" fmla="*/ 310 h 310"/>
                <a:gd name="T24" fmla="*/ 191 w 536"/>
                <a:gd name="T25" fmla="*/ 265 h 310"/>
                <a:gd name="T26" fmla="*/ 197 w 536"/>
                <a:gd name="T27" fmla="*/ 251 h 310"/>
                <a:gd name="T28" fmla="*/ 226 w 536"/>
                <a:gd name="T29" fmla="*/ 240 h 310"/>
                <a:gd name="T30" fmla="*/ 224 w 536"/>
                <a:gd name="T31" fmla="*/ 182 h 310"/>
                <a:gd name="T32" fmla="*/ 222 w 536"/>
                <a:gd name="T33" fmla="*/ 181 h 310"/>
                <a:gd name="T34" fmla="*/ 119 w 536"/>
                <a:gd name="T35" fmla="*/ 181 h 310"/>
                <a:gd name="T36" fmla="*/ 102 w 536"/>
                <a:gd name="T37" fmla="*/ 196 h 310"/>
                <a:gd name="T38" fmla="*/ 78 w 536"/>
                <a:gd name="T39" fmla="*/ 200 h 310"/>
                <a:gd name="T40" fmla="*/ 0 w 536"/>
                <a:gd name="T41" fmla="*/ 155 h 310"/>
                <a:gd name="T42" fmla="*/ 267 w 536"/>
                <a:gd name="T43" fmla="*/ 0 h 310"/>
                <a:gd name="T44" fmla="*/ 536 w 536"/>
                <a:gd name="T45" fmla="*/ 155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36" h="310">
                  <a:moveTo>
                    <a:pt x="536" y="155"/>
                  </a:moveTo>
                  <a:cubicBezTo>
                    <a:pt x="460" y="199"/>
                    <a:pt x="460" y="199"/>
                    <a:pt x="460" y="199"/>
                  </a:cubicBezTo>
                  <a:cubicBezTo>
                    <a:pt x="453" y="203"/>
                    <a:pt x="454" y="209"/>
                    <a:pt x="460" y="212"/>
                  </a:cubicBezTo>
                  <a:cubicBezTo>
                    <a:pt x="461" y="213"/>
                    <a:pt x="463" y="213"/>
                    <a:pt x="465" y="214"/>
                  </a:cubicBezTo>
                  <a:cubicBezTo>
                    <a:pt x="474" y="216"/>
                    <a:pt x="483" y="219"/>
                    <a:pt x="491" y="224"/>
                  </a:cubicBezTo>
                  <a:cubicBezTo>
                    <a:pt x="520" y="241"/>
                    <a:pt x="520" y="268"/>
                    <a:pt x="489" y="285"/>
                  </a:cubicBezTo>
                  <a:cubicBezTo>
                    <a:pt x="462" y="300"/>
                    <a:pt x="418" y="300"/>
                    <a:pt x="390" y="285"/>
                  </a:cubicBezTo>
                  <a:cubicBezTo>
                    <a:pt x="389" y="285"/>
                    <a:pt x="388" y="284"/>
                    <a:pt x="387" y="284"/>
                  </a:cubicBezTo>
                  <a:cubicBezTo>
                    <a:pt x="380" y="279"/>
                    <a:pt x="374" y="274"/>
                    <a:pt x="371" y="269"/>
                  </a:cubicBezTo>
                  <a:cubicBezTo>
                    <a:pt x="370" y="268"/>
                    <a:pt x="369" y="266"/>
                    <a:pt x="367" y="266"/>
                  </a:cubicBezTo>
                  <a:cubicBezTo>
                    <a:pt x="361" y="262"/>
                    <a:pt x="351" y="262"/>
                    <a:pt x="345" y="266"/>
                  </a:cubicBezTo>
                  <a:cubicBezTo>
                    <a:pt x="269" y="310"/>
                    <a:pt x="269" y="310"/>
                    <a:pt x="269" y="310"/>
                  </a:cubicBezTo>
                  <a:cubicBezTo>
                    <a:pt x="191" y="265"/>
                    <a:pt x="191" y="265"/>
                    <a:pt x="191" y="265"/>
                  </a:cubicBezTo>
                  <a:cubicBezTo>
                    <a:pt x="184" y="261"/>
                    <a:pt x="187" y="253"/>
                    <a:pt x="197" y="251"/>
                  </a:cubicBezTo>
                  <a:cubicBezTo>
                    <a:pt x="208" y="249"/>
                    <a:pt x="217" y="245"/>
                    <a:pt x="226" y="240"/>
                  </a:cubicBezTo>
                  <a:cubicBezTo>
                    <a:pt x="251" y="223"/>
                    <a:pt x="250" y="198"/>
                    <a:pt x="224" y="182"/>
                  </a:cubicBezTo>
                  <a:cubicBezTo>
                    <a:pt x="224" y="182"/>
                    <a:pt x="223" y="182"/>
                    <a:pt x="222" y="181"/>
                  </a:cubicBezTo>
                  <a:cubicBezTo>
                    <a:pt x="194" y="165"/>
                    <a:pt x="147" y="165"/>
                    <a:pt x="119" y="181"/>
                  </a:cubicBezTo>
                  <a:cubicBezTo>
                    <a:pt x="111" y="186"/>
                    <a:pt x="106" y="191"/>
                    <a:pt x="102" y="196"/>
                  </a:cubicBezTo>
                  <a:cubicBezTo>
                    <a:pt x="98" y="202"/>
                    <a:pt x="86" y="204"/>
                    <a:pt x="78" y="200"/>
                  </a:cubicBezTo>
                  <a:cubicBezTo>
                    <a:pt x="0" y="155"/>
                    <a:pt x="0" y="155"/>
                    <a:pt x="0" y="155"/>
                  </a:cubicBezTo>
                  <a:cubicBezTo>
                    <a:pt x="267" y="0"/>
                    <a:pt x="267" y="0"/>
                    <a:pt x="267" y="0"/>
                  </a:cubicBezTo>
                  <a:lnTo>
                    <a:pt x="536" y="15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22">
              <a:extLst>
                <a:ext uri="{FF2B5EF4-FFF2-40B4-BE49-F238E27FC236}">
                  <a16:creationId xmlns:a16="http://schemas.microsoft.com/office/drawing/2014/main" id="{90179385-8479-4BA1-8DE2-A2532FD5AD56}"/>
                </a:ext>
              </a:extLst>
            </p:cNvPr>
            <p:cNvSpPr>
              <a:spLocks/>
            </p:cNvSpPr>
            <p:nvPr/>
          </p:nvSpPr>
          <p:spPr bwMode="auto">
            <a:xfrm>
              <a:off x="4481513" y="1852613"/>
              <a:ext cx="3241675" cy="1882775"/>
            </a:xfrm>
            <a:custGeom>
              <a:avLst/>
              <a:gdLst>
                <a:gd name="T0" fmla="*/ 183 w 514"/>
                <a:gd name="T1" fmla="*/ 255 h 298"/>
                <a:gd name="T2" fmla="*/ 182 w 514"/>
                <a:gd name="T3" fmla="*/ 253 h 298"/>
                <a:gd name="T4" fmla="*/ 187 w 514"/>
                <a:gd name="T5" fmla="*/ 250 h 298"/>
                <a:gd name="T6" fmla="*/ 217 w 514"/>
                <a:gd name="T7" fmla="*/ 238 h 298"/>
                <a:gd name="T8" fmla="*/ 238 w 514"/>
                <a:gd name="T9" fmla="*/ 205 h 298"/>
                <a:gd name="T10" fmla="*/ 216 w 514"/>
                <a:gd name="T11" fmla="*/ 172 h 298"/>
                <a:gd name="T12" fmla="*/ 214 w 514"/>
                <a:gd name="T13" fmla="*/ 171 h 298"/>
                <a:gd name="T14" fmla="*/ 160 w 514"/>
                <a:gd name="T15" fmla="*/ 157 h 298"/>
                <a:gd name="T16" fmla="*/ 105 w 514"/>
                <a:gd name="T17" fmla="*/ 171 h 298"/>
                <a:gd name="T18" fmla="*/ 87 w 514"/>
                <a:gd name="T19" fmla="*/ 187 h 298"/>
                <a:gd name="T20" fmla="*/ 77 w 514"/>
                <a:gd name="T21" fmla="*/ 190 h 298"/>
                <a:gd name="T22" fmla="*/ 69 w 514"/>
                <a:gd name="T23" fmla="*/ 189 h 298"/>
                <a:gd name="T24" fmla="*/ 0 w 514"/>
                <a:gd name="T25" fmla="*/ 149 h 298"/>
                <a:gd name="T26" fmla="*/ 256 w 514"/>
                <a:gd name="T27" fmla="*/ 0 h 298"/>
                <a:gd name="T28" fmla="*/ 514 w 514"/>
                <a:gd name="T29" fmla="*/ 149 h 298"/>
                <a:gd name="T30" fmla="*/ 446 w 514"/>
                <a:gd name="T31" fmla="*/ 188 h 298"/>
                <a:gd name="T32" fmla="*/ 439 w 514"/>
                <a:gd name="T33" fmla="*/ 199 h 298"/>
                <a:gd name="T34" fmla="*/ 446 w 514"/>
                <a:gd name="T35" fmla="*/ 211 h 298"/>
                <a:gd name="T36" fmla="*/ 453 w 514"/>
                <a:gd name="T37" fmla="*/ 213 h 298"/>
                <a:gd name="T38" fmla="*/ 477 w 514"/>
                <a:gd name="T39" fmla="*/ 222 h 298"/>
                <a:gd name="T40" fmla="*/ 496 w 514"/>
                <a:gd name="T41" fmla="*/ 248 h 298"/>
                <a:gd name="T42" fmla="*/ 476 w 514"/>
                <a:gd name="T43" fmla="*/ 274 h 298"/>
                <a:gd name="T44" fmla="*/ 428 w 514"/>
                <a:gd name="T45" fmla="*/ 285 h 298"/>
                <a:gd name="T46" fmla="*/ 382 w 514"/>
                <a:gd name="T47" fmla="*/ 274 h 298"/>
                <a:gd name="T48" fmla="*/ 379 w 514"/>
                <a:gd name="T49" fmla="*/ 273 h 298"/>
                <a:gd name="T50" fmla="*/ 364 w 514"/>
                <a:gd name="T51" fmla="*/ 260 h 298"/>
                <a:gd name="T52" fmla="*/ 359 w 514"/>
                <a:gd name="T53" fmla="*/ 255 h 298"/>
                <a:gd name="T54" fmla="*/ 345 w 514"/>
                <a:gd name="T55" fmla="*/ 252 h 298"/>
                <a:gd name="T56" fmla="*/ 331 w 514"/>
                <a:gd name="T57" fmla="*/ 255 h 298"/>
                <a:gd name="T58" fmla="*/ 258 w 514"/>
                <a:gd name="T59" fmla="*/ 298 h 298"/>
                <a:gd name="T60" fmla="*/ 183 w 514"/>
                <a:gd name="T61" fmla="*/ 255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14" h="298">
                  <a:moveTo>
                    <a:pt x="183" y="255"/>
                  </a:moveTo>
                  <a:cubicBezTo>
                    <a:pt x="182" y="254"/>
                    <a:pt x="182" y="253"/>
                    <a:pt x="182" y="253"/>
                  </a:cubicBezTo>
                  <a:cubicBezTo>
                    <a:pt x="182" y="253"/>
                    <a:pt x="183" y="251"/>
                    <a:pt x="187" y="250"/>
                  </a:cubicBezTo>
                  <a:cubicBezTo>
                    <a:pt x="199" y="248"/>
                    <a:pt x="209" y="244"/>
                    <a:pt x="217" y="238"/>
                  </a:cubicBezTo>
                  <a:cubicBezTo>
                    <a:pt x="231" y="229"/>
                    <a:pt x="239" y="218"/>
                    <a:pt x="238" y="205"/>
                  </a:cubicBezTo>
                  <a:cubicBezTo>
                    <a:pt x="238" y="192"/>
                    <a:pt x="231" y="181"/>
                    <a:pt x="216" y="172"/>
                  </a:cubicBezTo>
                  <a:cubicBezTo>
                    <a:pt x="216" y="171"/>
                    <a:pt x="215" y="171"/>
                    <a:pt x="214" y="171"/>
                  </a:cubicBezTo>
                  <a:cubicBezTo>
                    <a:pt x="199" y="162"/>
                    <a:pt x="180" y="157"/>
                    <a:pt x="160" y="157"/>
                  </a:cubicBezTo>
                  <a:cubicBezTo>
                    <a:pt x="139" y="157"/>
                    <a:pt x="120" y="162"/>
                    <a:pt x="105" y="171"/>
                  </a:cubicBezTo>
                  <a:cubicBezTo>
                    <a:pt x="97" y="175"/>
                    <a:pt x="91" y="181"/>
                    <a:pt x="87" y="187"/>
                  </a:cubicBezTo>
                  <a:cubicBezTo>
                    <a:pt x="86" y="189"/>
                    <a:pt x="82" y="190"/>
                    <a:pt x="77" y="190"/>
                  </a:cubicBezTo>
                  <a:cubicBezTo>
                    <a:pt x="74" y="190"/>
                    <a:pt x="71" y="190"/>
                    <a:pt x="69" y="189"/>
                  </a:cubicBezTo>
                  <a:cubicBezTo>
                    <a:pt x="0" y="149"/>
                    <a:pt x="0" y="149"/>
                    <a:pt x="0" y="149"/>
                  </a:cubicBezTo>
                  <a:cubicBezTo>
                    <a:pt x="256" y="0"/>
                    <a:pt x="256" y="0"/>
                    <a:pt x="256" y="0"/>
                  </a:cubicBezTo>
                  <a:cubicBezTo>
                    <a:pt x="514" y="149"/>
                    <a:pt x="514" y="149"/>
                    <a:pt x="514" y="149"/>
                  </a:cubicBezTo>
                  <a:cubicBezTo>
                    <a:pt x="446" y="188"/>
                    <a:pt x="446" y="188"/>
                    <a:pt x="446" y="188"/>
                  </a:cubicBezTo>
                  <a:cubicBezTo>
                    <a:pt x="441" y="191"/>
                    <a:pt x="439" y="195"/>
                    <a:pt x="439" y="199"/>
                  </a:cubicBezTo>
                  <a:cubicBezTo>
                    <a:pt x="439" y="204"/>
                    <a:pt x="441" y="208"/>
                    <a:pt x="446" y="211"/>
                  </a:cubicBezTo>
                  <a:cubicBezTo>
                    <a:pt x="448" y="212"/>
                    <a:pt x="450" y="213"/>
                    <a:pt x="453" y="213"/>
                  </a:cubicBezTo>
                  <a:cubicBezTo>
                    <a:pt x="462" y="215"/>
                    <a:pt x="470" y="218"/>
                    <a:pt x="477" y="222"/>
                  </a:cubicBezTo>
                  <a:cubicBezTo>
                    <a:pt x="489" y="229"/>
                    <a:pt x="496" y="239"/>
                    <a:pt x="496" y="248"/>
                  </a:cubicBezTo>
                  <a:cubicBezTo>
                    <a:pt x="496" y="258"/>
                    <a:pt x="489" y="267"/>
                    <a:pt x="476" y="274"/>
                  </a:cubicBezTo>
                  <a:cubicBezTo>
                    <a:pt x="463" y="281"/>
                    <a:pt x="446" y="285"/>
                    <a:pt x="428" y="285"/>
                  </a:cubicBezTo>
                  <a:cubicBezTo>
                    <a:pt x="411" y="285"/>
                    <a:pt x="394" y="281"/>
                    <a:pt x="382" y="274"/>
                  </a:cubicBezTo>
                  <a:cubicBezTo>
                    <a:pt x="381" y="274"/>
                    <a:pt x="380" y="273"/>
                    <a:pt x="379" y="273"/>
                  </a:cubicBezTo>
                  <a:cubicBezTo>
                    <a:pt x="372" y="269"/>
                    <a:pt x="367" y="265"/>
                    <a:pt x="364" y="260"/>
                  </a:cubicBezTo>
                  <a:cubicBezTo>
                    <a:pt x="363" y="258"/>
                    <a:pt x="361" y="256"/>
                    <a:pt x="359" y="255"/>
                  </a:cubicBezTo>
                  <a:cubicBezTo>
                    <a:pt x="355" y="253"/>
                    <a:pt x="350" y="252"/>
                    <a:pt x="345" y="252"/>
                  </a:cubicBezTo>
                  <a:cubicBezTo>
                    <a:pt x="340" y="252"/>
                    <a:pt x="335" y="253"/>
                    <a:pt x="331" y="255"/>
                  </a:cubicBezTo>
                  <a:cubicBezTo>
                    <a:pt x="258" y="298"/>
                    <a:pt x="258" y="298"/>
                    <a:pt x="258" y="298"/>
                  </a:cubicBezTo>
                  <a:lnTo>
                    <a:pt x="183" y="255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23">
              <a:extLst>
                <a:ext uri="{FF2B5EF4-FFF2-40B4-BE49-F238E27FC236}">
                  <a16:creationId xmlns:a16="http://schemas.microsoft.com/office/drawing/2014/main" id="{FFC11C1B-3E96-4F4A-9CBD-08F55A72BF8B}"/>
                </a:ext>
              </a:extLst>
            </p:cNvPr>
            <p:cNvSpPr>
              <a:spLocks/>
            </p:cNvSpPr>
            <p:nvPr/>
          </p:nvSpPr>
          <p:spPr bwMode="auto">
            <a:xfrm>
              <a:off x="6108701" y="2794001"/>
              <a:ext cx="3379788" cy="1958975"/>
            </a:xfrm>
            <a:custGeom>
              <a:avLst/>
              <a:gdLst>
                <a:gd name="T0" fmla="*/ 490 w 536"/>
                <a:gd name="T1" fmla="*/ 26 h 310"/>
                <a:gd name="T2" fmla="*/ 490 w 536"/>
                <a:gd name="T3" fmla="*/ 86 h 310"/>
                <a:gd name="T4" fmla="*/ 464 w 536"/>
                <a:gd name="T5" fmla="*/ 96 h 310"/>
                <a:gd name="T6" fmla="*/ 459 w 536"/>
                <a:gd name="T7" fmla="*/ 111 h 310"/>
                <a:gd name="T8" fmla="*/ 536 w 536"/>
                <a:gd name="T9" fmla="*/ 155 h 310"/>
                <a:gd name="T10" fmla="*/ 269 w 536"/>
                <a:gd name="T11" fmla="*/ 310 h 310"/>
                <a:gd name="T12" fmla="*/ 0 w 536"/>
                <a:gd name="T13" fmla="*/ 155 h 310"/>
                <a:gd name="T14" fmla="*/ 77 w 536"/>
                <a:gd name="T15" fmla="*/ 110 h 310"/>
                <a:gd name="T16" fmla="*/ 98 w 536"/>
                <a:gd name="T17" fmla="*/ 111 h 310"/>
                <a:gd name="T18" fmla="*/ 102 w 536"/>
                <a:gd name="T19" fmla="*/ 114 h 310"/>
                <a:gd name="T20" fmla="*/ 118 w 536"/>
                <a:gd name="T21" fmla="*/ 129 h 310"/>
                <a:gd name="T22" fmla="*/ 224 w 536"/>
                <a:gd name="T23" fmla="*/ 127 h 310"/>
                <a:gd name="T24" fmla="*/ 224 w 536"/>
                <a:gd name="T25" fmla="*/ 70 h 310"/>
                <a:gd name="T26" fmla="*/ 222 w 536"/>
                <a:gd name="T27" fmla="*/ 69 h 310"/>
                <a:gd name="T28" fmla="*/ 196 w 536"/>
                <a:gd name="T29" fmla="*/ 59 h 310"/>
                <a:gd name="T30" fmla="*/ 191 w 536"/>
                <a:gd name="T31" fmla="*/ 57 h 310"/>
                <a:gd name="T32" fmla="*/ 190 w 536"/>
                <a:gd name="T33" fmla="*/ 45 h 310"/>
                <a:gd name="T34" fmla="*/ 267 w 536"/>
                <a:gd name="T35" fmla="*/ 0 h 310"/>
                <a:gd name="T36" fmla="*/ 344 w 536"/>
                <a:gd name="T37" fmla="*/ 44 h 310"/>
                <a:gd name="T38" fmla="*/ 369 w 536"/>
                <a:gd name="T39" fmla="*/ 41 h 310"/>
                <a:gd name="T40" fmla="*/ 389 w 536"/>
                <a:gd name="T41" fmla="*/ 25 h 310"/>
                <a:gd name="T42" fmla="*/ 488 w 536"/>
                <a:gd name="T43" fmla="*/ 25 h 310"/>
                <a:gd name="T44" fmla="*/ 490 w 536"/>
                <a:gd name="T45" fmla="*/ 26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36" h="310">
                  <a:moveTo>
                    <a:pt x="490" y="26"/>
                  </a:moveTo>
                  <a:cubicBezTo>
                    <a:pt x="518" y="43"/>
                    <a:pt x="519" y="70"/>
                    <a:pt x="490" y="86"/>
                  </a:cubicBezTo>
                  <a:cubicBezTo>
                    <a:pt x="482" y="91"/>
                    <a:pt x="474" y="94"/>
                    <a:pt x="464" y="96"/>
                  </a:cubicBezTo>
                  <a:cubicBezTo>
                    <a:pt x="454" y="98"/>
                    <a:pt x="451" y="106"/>
                    <a:pt x="459" y="111"/>
                  </a:cubicBezTo>
                  <a:cubicBezTo>
                    <a:pt x="536" y="155"/>
                    <a:pt x="536" y="155"/>
                    <a:pt x="536" y="155"/>
                  </a:cubicBezTo>
                  <a:cubicBezTo>
                    <a:pt x="269" y="310"/>
                    <a:pt x="269" y="310"/>
                    <a:pt x="269" y="310"/>
                  </a:cubicBezTo>
                  <a:cubicBezTo>
                    <a:pt x="0" y="155"/>
                    <a:pt x="0" y="155"/>
                    <a:pt x="0" y="155"/>
                  </a:cubicBezTo>
                  <a:cubicBezTo>
                    <a:pt x="77" y="110"/>
                    <a:pt x="77" y="110"/>
                    <a:pt x="77" y="110"/>
                  </a:cubicBezTo>
                  <a:cubicBezTo>
                    <a:pt x="83" y="107"/>
                    <a:pt x="93" y="107"/>
                    <a:pt x="98" y="111"/>
                  </a:cubicBezTo>
                  <a:cubicBezTo>
                    <a:pt x="100" y="112"/>
                    <a:pt x="101" y="113"/>
                    <a:pt x="102" y="114"/>
                  </a:cubicBezTo>
                  <a:cubicBezTo>
                    <a:pt x="105" y="119"/>
                    <a:pt x="111" y="124"/>
                    <a:pt x="118" y="129"/>
                  </a:cubicBezTo>
                  <a:cubicBezTo>
                    <a:pt x="148" y="146"/>
                    <a:pt x="196" y="145"/>
                    <a:pt x="224" y="127"/>
                  </a:cubicBezTo>
                  <a:cubicBezTo>
                    <a:pt x="250" y="111"/>
                    <a:pt x="250" y="86"/>
                    <a:pt x="224" y="70"/>
                  </a:cubicBezTo>
                  <a:cubicBezTo>
                    <a:pt x="224" y="70"/>
                    <a:pt x="223" y="69"/>
                    <a:pt x="222" y="69"/>
                  </a:cubicBezTo>
                  <a:cubicBezTo>
                    <a:pt x="214" y="64"/>
                    <a:pt x="205" y="61"/>
                    <a:pt x="196" y="59"/>
                  </a:cubicBezTo>
                  <a:cubicBezTo>
                    <a:pt x="194" y="58"/>
                    <a:pt x="192" y="58"/>
                    <a:pt x="191" y="57"/>
                  </a:cubicBezTo>
                  <a:cubicBezTo>
                    <a:pt x="185" y="54"/>
                    <a:pt x="184" y="48"/>
                    <a:pt x="190" y="45"/>
                  </a:cubicBezTo>
                  <a:cubicBezTo>
                    <a:pt x="267" y="0"/>
                    <a:pt x="267" y="0"/>
                    <a:pt x="267" y="0"/>
                  </a:cubicBezTo>
                  <a:cubicBezTo>
                    <a:pt x="344" y="44"/>
                    <a:pt x="344" y="44"/>
                    <a:pt x="344" y="44"/>
                  </a:cubicBezTo>
                  <a:cubicBezTo>
                    <a:pt x="352" y="49"/>
                    <a:pt x="365" y="47"/>
                    <a:pt x="369" y="41"/>
                  </a:cubicBezTo>
                  <a:cubicBezTo>
                    <a:pt x="373" y="35"/>
                    <a:pt x="380" y="29"/>
                    <a:pt x="389" y="25"/>
                  </a:cubicBezTo>
                  <a:cubicBezTo>
                    <a:pt x="417" y="10"/>
                    <a:pt x="460" y="10"/>
                    <a:pt x="488" y="25"/>
                  </a:cubicBezTo>
                  <a:cubicBezTo>
                    <a:pt x="488" y="25"/>
                    <a:pt x="489" y="26"/>
                    <a:pt x="490" y="2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24">
              <a:extLst>
                <a:ext uri="{FF2B5EF4-FFF2-40B4-BE49-F238E27FC236}">
                  <a16:creationId xmlns:a16="http://schemas.microsoft.com/office/drawing/2014/main" id="{E6A12C39-BD47-4B00-A82B-B3F14C2CB334}"/>
                </a:ext>
              </a:extLst>
            </p:cNvPr>
            <p:cNvSpPr>
              <a:spLocks/>
            </p:cNvSpPr>
            <p:nvPr/>
          </p:nvSpPr>
          <p:spPr bwMode="auto">
            <a:xfrm>
              <a:off x="6178551" y="2832101"/>
              <a:ext cx="3240088" cy="1882775"/>
            </a:xfrm>
            <a:custGeom>
              <a:avLst/>
              <a:gdLst>
                <a:gd name="T0" fmla="*/ 0 w 514"/>
                <a:gd name="T1" fmla="*/ 149 h 298"/>
                <a:gd name="T2" fmla="*/ 69 w 514"/>
                <a:gd name="T3" fmla="*/ 109 h 298"/>
                <a:gd name="T4" fmla="*/ 76 w 514"/>
                <a:gd name="T5" fmla="*/ 107 h 298"/>
                <a:gd name="T6" fmla="*/ 84 w 514"/>
                <a:gd name="T7" fmla="*/ 109 h 298"/>
                <a:gd name="T8" fmla="*/ 86 w 514"/>
                <a:gd name="T9" fmla="*/ 111 h 298"/>
                <a:gd name="T10" fmla="*/ 105 w 514"/>
                <a:gd name="T11" fmla="*/ 127 h 298"/>
                <a:gd name="T12" fmla="*/ 159 w 514"/>
                <a:gd name="T13" fmla="*/ 141 h 298"/>
                <a:gd name="T14" fmla="*/ 216 w 514"/>
                <a:gd name="T15" fmla="*/ 126 h 298"/>
                <a:gd name="T16" fmla="*/ 238 w 514"/>
                <a:gd name="T17" fmla="*/ 93 h 298"/>
                <a:gd name="T18" fmla="*/ 216 w 514"/>
                <a:gd name="T19" fmla="*/ 60 h 298"/>
                <a:gd name="T20" fmla="*/ 213 w 514"/>
                <a:gd name="T21" fmla="*/ 58 h 298"/>
                <a:gd name="T22" fmla="*/ 186 w 514"/>
                <a:gd name="T23" fmla="*/ 48 h 298"/>
                <a:gd name="T24" fmla="*/ 182 w 514"/>
                <a:gd name="T25" fmla="*/ 46 h 298"/>
                <a:gd name="T26" fmla="*/ 181 w 514"/>
                <a:gd name="T27" fmla="*/ 44 h 298"/>
                <a:gd name="T28" fmla="*/ 182 w 514"/>
                <a:gd name="T29" fmla="*/ 43 h 298"/>
                <a:gd name="T30" fmla="*/ 256 w 514"/>
                <a:gd name="T31" fmla="*/ 0 h 298"/>
                <a:gd name="T32" fmla="*/ 330 w 514"/>
                <a:gd name="T33" fmla="*/ 43 h 298"/>
                <a:gd name="T34" fmla="*/ 344 w 514"/>
                <a:gd name="T35" fmla="*/ 46 h 298"/>
                <a:gd name="T36" fmla="*/ 363 w 514"/>
                <a:gd name="T37" fmla="*/ 38 h 298"/>
                <a:gd name="T38" fmla="*/ 380 w 514"/>
                <a:gd name="T39" fmla="*/ 23 h 298"/>
                <a:gd name="T40" fmla="*/ 427 w 514"/>
                <a:gd name="T41" fmla="*/ 13 h 298"/>
                <a:gd name="T42" fmla="*/ 474 w 514"/>
                <a:gd name="T43" fmla="*/ 24 h 298"/>
                <a:gd name="T44" fmla="*/ 476 w 514"/>
                <a:gd name="T45" fmla="*/ 25 h 298"/>
                <a:gd name="T46" fmla="*/ 495 w 514"/>
                <a:gd name="T47" fmla="*/ 50 h 298"/>
                <a:gd name="T48" fmla="*/ 476 w 514"/>
                <a:gd name="T49" fmla="*/ 76 h 298"/>
                <a:gd name="T50" fmla="*/ 452 w 514"/>
                <a:gd name="T51" fmla="*/ 85 h 298"/>
                <a:gd name="T52" fmla="*/ 438 w 514"/>
                <a:gd name="T53" fmla="*/ 97 h 298"/>
                <a:gd name="T54" fmla="*/ 445 w 514"/>
                <a:gd name="T55" fmla="*/ 109 h 298"/>
                <a:gd name="T56" fmla="*/ 514 w 514"/>
                <a:gd name="T57" fmla="*/ 149 h 298"/>
                <a:gd name="T58" fmla="*/ 258 w 514"/>
                <a:gd name="T59" fmla="*/ 298 h 298"/>
                <a:gd name="T60" fmla="*/ 0 w 514"/>
                <a:gd name="T61" fmla="*/ 149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14" h="298">
                  <a:moveTo>
                    <a:pt x="0" y="149"/>
                  </a:moveTo>
                  <a:cubicBezTo>
                    <a:pt x="69" y="109"/>
                    <a:pt x="69" y="109"/>
                    <a:pt x="69" y="109"/>
                  </a:cubicBezTo>
                  <a:cubicBezTo>
                    <a:pt x="71" y="108"/>
                    <a:pt x="73" y="107"/>
                    <a:pt x="76" y="107"/>
                  </a:cubicBezTo>
                  <a:cubicBezTo>
                    <a:pt x="79" y="107"/>
                    <a:pt x="82" y="108"/>
                    <a:pt x="84" y="109"/>
                  </a:cubicBezTo>
                  <a:cubicBezTo>
                    <a:pt x="85" y="110"/>
                    <a:pt x="86" y="110"/>
                    <a:pt x="86" y="111"/>
                  </a:cubicBezTo>
                  <a:cubicBezTo>
                    <a:pt x="90" y="117"/>
                    <a:pt x="96" y="123"/>
                    <a:pt x="105" y="127"/>
                  </a:cubicBezTo>
                  <a:cubicBezTo>
                    <a:pt x="119" y="136"/>
                    <a:pt x="139" y="141"/>
                    <a:pt x="159" y="141"/>
                  </a:cubicBezTo>
                  <a:cubicBezTo>
                    <a:pt x="181" y="141"/>
                    <a:pt x="201" y="135"/>
                    <a:pt x="216" y="126"/>
                  </a:cubicBezTo>
                  <a:cubicBezTo>
                    <a:pt x="230" y="117"/>
                    <a:pt x="238" y="105"/>
                    <a:pt x="238" y="93"/>
                  </a:cubicBezTo>
                  <a:cubicBezTo>
                    <a:pt x="238" y="80"/>
                    <a:pt x="230" y="68"/>
                    <a:pt x="216" y="60"/>
                  </a:cubicBezTo>
                  <a:cubicBezTo>
                    <a:pt x="215" y="59"/>
                    <a:pt x="214" y="58"/>
                    <a:pt x="213" y="58"/>
                  </a:cubicBezTo>
                  <a:cubicBezTo>
                    <a:pt x="206" y="53"/>
                    <a:pt x="196" y="50"/>
                    <a:pt x="186" y="48"/>
                  </a:cubicBezTo>
                  <a:cubicBezTo>
                    <a:pt x="185" y="47"/>
                    <a:pt x="183" y="47"/>
                    <a:pt x="182" y="46"/>
                  </a:cubicBezTo>
                  <a:cubicBezTo>
                    <a:pt x="181" y="45"/>
                    <a:pt x="181" y="45"/>
                    <a:pt x="181" y="44"/>
                  </a:cubicBezTo>
                  <a:cubicBezTo>
                    <a:pt x="181" y="44"/>
                    <a:pt x="181" y="44"/>
                    <a:pt x="182" y="43"/>
                  </a:cubicBezTo>
                  <a:cubicBezTo>
                    <a:pt x="256" y="0"/>
                    <a:pt x="256" y="0"/>
                    <a:pt x="256" y="0"/>
                  </a:cubicBezTo>
                  <a:cubicBezTo>
                    <a:pt x="330" y="43"/>
                    <a:pt x="330" y="43"/>
                    <a:pt x="330" y="43"/>
                  </a:cubicBezTo>
                  <a:cubicBezTo>
                    <a:pt x="334" y="45"/>
                    <a:pt x="339" y="46"/>
                    <a:pt x="344" y="46"/>
                  </a:cubicBezTo>
                  <a:cubicBezTo>
                    <a:pt x="350" y="46"/>
                    <a:pt x="359" y="44"/>
                    <a:pt x="363" y="38"/>
                  </a:cubicBezTo>
                  <a:cubicBezTo>
                    <a:pt x="366" y="33"/>
                    <a:pt x="372" y="28"/>
                    <a:pt x="380" y="23"/>
                  </a:cubicBezTo>
                  <a:cubicBezTo>
                    <a:pt x="393" y="17"/>
                    <a:pt x="409" y="13"/>
                    <a:pt x="427" y="13"/>
                  </a:cubicBezTo>
                  <a:cubicBezTo>
                    <a:pt x="444" y="13"/>
                    <a:pt x="461" y="17"/>
                    <a:pt x="474" y="24"/>
                  </a:cubicBezTo>
                  <a:cubicBezTo>
                    <a:pt x="475" y="24"/>
                    <a:pt x="475" y="25"/>
                    <a:pt x="476" y="25"/>
                  </a:cubicBezTo>
                  <a:cubicBezTo>
                    <a:pt x="488" y="32"/>
                    <a:pt x="495" y="41"/>
                    <a:pt x="495" y="50"/>
                  </a:cubicBezTo>
                  <a:cubicBezTo>
                    <a:pt x="495" y="60"/>
                    <a:pt x="488" y="69"/>
                    <a:pt x="476" y="76"/>
                  </a:cubicBezTo>
                  <a:cubicBezTo>
                    <a:pt x="469" y="80"/>
                    <a:pt x="461" y="83"/>
                    <a:pt x="452" y="85"/>
                  </a:cubicBezTo>
                  <a:cubicBezTo>
                    <a:pt x="444" y="86"/>
                    <a:pt x="439" y="91"/>
                    <a:pt x="438" y="97"/>
                  </a:cubicBezTo>
                  <a:cubicBezTo>
                    <a:pt x="437" y="102"/>
                    <a:pt x="440" y="106"/>
                    <a:pt x="445" y="109"/>
                  </a:cubicBezTo>
                  <a:cubicBezTo>
                    <a:pt x="514" y="149"/>
                    <a:pt x="514" y="149"/>
                    <a:pt x="514" y="149"/>
                  </a:cubicBezTo>
                  <a:cubicBezTo>
                    <a:pt x="258" y="298"/>
                    <a:pt x="258" y="298"/>
                    <a:pt x="258" y="298"/>
                  </a:cubicBezTo>
                  <a:lnTo>
                    <a:pt x="0" y="149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5">
              <a:extLst>
                <a:ext uri="{FF2B5EF4-FFF2-40B4-BE49-F238E27FC236}">
                  <a16:creationId xmlns:a16="http://schemas.microsoft.com/office/drawing/2014/main" id="{F17CA339-FB2D-4B66-A258-3BAD8077C3F9}"/>
                </a:ext>
              </a:extLst>
            </p:cNvPr>
            <p:cNvSpPr>
              <a:spLocks/>
            </p:cNvSpPr>
            <p:nvPr/>
          </p:nvSpPr>
          <p:spPr bwMode="auto">
            <a:xfrm>
              <a:off x="7804151" y="3773488"/>
              <a:ext cx="1684338" cy="1276350"/>
            </a:xfrm>
            <a:custGeom>
              <a:avLst/>
              <a:gdLst>
                <a:gd name="T0" fmla="*/ 1061 w 1061"/>
                <a:gd name="T1" fmla="*/ 0 h 804"/>
                <a:gd name="T2" fmla="*/ 1061 w 1061"/>
                <a:gd name="T3" fmla="*/ 187 h 804"/>
                <a:gd name="T4" fmla="*/ 0 w 1061"/>
                <a:gd name="T5" fmla="*/ 804 h 804"/>
                <a:gd name="T6" fmla="*/ 0 w 1061"/>
                <a:gd name="T7" fmla="*/ 617 h 804"/>
                <a:gd name="T8" fmla="*/ 1061 w 1061"/>
                <a:gd name="T9" fmla="*/ 0 h 8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61" h="804">
                  <a:moveTo>
                    <a:pt x="1061" y="0"/>
                  </a:moveTo>
                  <a:lnTo>
                    <a:pt x="1061" y="187"/>
                  </a:lnTo>
                  <a:lnTo>
                    <a:pt x="0" y="804"/>
                  </a:lnTo>
                  <a:lnTo>
                    <a:pt x="0" y="617"/>
                  </a:lnTo>
                  <a:lnTo>
                    <a:pt x="1061" y="0"/>
                  </a:lnTo>
                  <a:close/>
                </a:path>
              </a:pathLst>
            </a:custGeom>
            <a:solidFill>
              <a:srgbClr val="AD12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6">
              <a:extLst>
                <a:ext uri="{FF2B5EF4-FFF2-40B4-BE49-F238E27FC236}">
                  <a16:creationId xmlns:a16="http://schemas.microsoft.com/office/drawing/2014/main" id="{384B1029-6CC7-4C12-8166-F5F8C94AC3CE}"/>
                </a:ext>
              </a:extLst>
            </p:cNvPr>
            <p:cNvSpPr>
              <a:spLocks/>
            </p:cNvSpPr>
            <p:nvPr/>
          </p:nvSpPr>
          <p:spPr bwMode="auto">
            <a:xfrm>
              <a:off x="6108701" y="3773488"/>
              <a:ext cx="1695450" cy="1276350"/>
            </a:xfrm>
            <a:custGeom>
              <a:avLst/>
              <a:gdLst>
                <a:gd name="T0" fmla="*/ 1068 w 1068"/>
                <a:gd name="T1" fmla="*/ 617 h 804"/>
                <a:gd name="T2" fmla="*/ 1068 w 1068"/>
                <a:gd name="T3" fmla="*/ 804 h 804"/>
                <a:gd name="T4" fmla="*/ 0 w 1068"/>
                <a:gd name="T5" fmla="*/ 187 h 804"/>
                <a:gd name="T6" fmla="*/ 0 w 1068"/>
                <a:gd name="T7" fmla="*/ 0 h 804"/>
                <a:gd name="T8" fmla="*/ 1068 w 1068"/>
                <a:gd name="T9" fmla="*/ 617 h 8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68" h="804">
                  <a:moveTo>
                    <a:pt x="1068" y="617"/>
                  </a:moveTo>
                  <a:lnTo>
                    <a:pt x="1068" y="804"/>
                  </a:lnTo>
                  <a:lnTo>
                    <a:pt x="0" y="187"/>
                  </a:lnTo>
                  <a:lnTo>
                    <a:pt x="0" y="0"/>
                  </a:lnTo>
                  <a:lnTo>
                    <a:pt x="1068" y="617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95" name="Group 94">
            <a:extLst>
              <a:ext uri="{FF2B5EF4-FFF2-40B4-BE49-F238E27FC236}">
                <a16:creationId xmlns:a16="http://schemas.microsoft.com/office/drawing/2014/main" id="{9E756BFC-C2E5-4604-AB78-0B764C90EBFF}"/>
              </a:ext>
            </a:extLst>
          </p:cNvPr>
          <p:cNvGrpSpPr/>
          <p:nvPr/>
        </p:nvGrpSpPr>
        <p:grpSpPr>
          <a:xfrm>
            <a:off x="9380953" y="3560078"/>
            <a:ext cx="732008" cy="656280"/>
            <a:chOff x="11028363" y="3683000"/>
            <a:chExt cx="276225" cy="247650"/>
          </a:xfrm>
          <a:solidFill>
            <a:schemeClr val="bg1"/>
          </a:solidFill>
          <a:scene3d>
            <a:camera prst="isometricTopUp"/>
            <a:lightRig rig="threePt" dir="t"/>
          </a:scene3d>
        </p:grpSpPr>
        <p:sp>
          <p:nvSpPr>
            <p:cNvPr id="111" name="Freeform 48">
              <a:extLst>
                <a:ext uri="{FF2B5EF4-FFF2-40B4-BE49-F238E27FC236}">
                  <a16:creationId xmlns:a16="http://schemas.microsoft.com/office/drawing/2014/main" id="{E049A5B1-C9BD-46DE-A613-2031A23DBD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8363" y="3921125"/>
              <a:ext cx="276225" cy="9525"/>
            </a:xfrm>
            <a:custGeom>
              <a:avLst/>
              <a:gdLst>
                <a:gd name="T0" fmla="*/ 857 w 872"/>
                <a:gd name="T1" fmla="*/ 0 h 30"/>
                <a:gd name="T2" fmla="*/ 15 w 872"/>
                <a:gd name="T3" fmla="*/ 0 h 30"/>
                <a:gd name="T4" fmla="*/ 12 w 872"/>
                <a:gd name="T5" fmla="*/ 0 h 30"/>
                <a:gd name="T6" fmla="*/ 9 w 872"/>
                <a:gd name="T7" fmla="*/ 1 h 30"/>
                <a:gd name="T8" fmla="*/ 6 w 872"/>
                <a:gd name="T9" fmla="*/ 2 h 30"/>
                <a:gd name="T10" fmla="*/ 4 w 872"/>
                <a:gd name="T11" fmla="*/ 4 h 30"/>
                <a:gd name="T12" fmla="*/ 2 w 872"/>
                <a:gd name="T13" fmla="*/ 7 h 30"/>
                <a:gd name="T14" fmla="*/ 1 w 872"/>
                <a:gd name="T15" fmla="*/ 9 h 30"/>
                <a:gd name="T16" fmla="*/ 0 w 872"/>
                <a:gd name="T17" fmla="*/ 12 h 30"/>
                <a:gd name="T18" fmla="*/ 0 w 872"/>
                <a:gd name="T19" fmla="*/ 15 h 30"/>
                <a:gd name="T20" fmla="*/ 0 w 872"/>
                <a:gd name="T21" fmla="*/ 17 h 30"/>
                <a:gd name="T22" fmla="*/ 1 w 872"/>
                <a:gd name="T23" fmla="*/ 21 h 30"/>
                <a:gd name="T24" fmla="*/ 2 w 872"/>
                <a:gd name="T25" fmla="*/ 23 h 30"/>
                <a:gd name="T26" fmla="*/ 4 w 872"/>
                <a:gd name="T27" fmla="*/ 25 h 30"/>
                <a:gd name="T28" fmla="*/ 6 w 872"/>
                <a:gd name="T29" fmla="*/ 27 h 30"/>
                <a:gd name="T30" fmla="*/ 9 w 872"/>
                <a:gd name="T31" fmla="*/ 28 h 30"/>
                <a:gd name="T32" fmla="*/ 12 w 872"/>
                <a:gd name="T33" fmla="*/ 29 h 30"/>
                <a:gd name="T34" fmla="*/ 15 w 872"/>
                <a:gd name="T35" fmla="*/ 30 h 30"/>
                <a:gd name="T36" fmla="*/ 857 w 872"/>
                <a:gd name="T37" fmla="*/ 30 h 30"/>
                <a:gd name="T38" fmla="*/ 860 w 872"/>
                <a:gd name="T39" fmla="*/ 29 h 30"/>
                <a:gd name="T40" fmla="*/ 862 w 872"/>
                <a:gd name="T41" fmla="*/ 28 h 30"/>
                <a:gd name="T42" fmla="*/ 866 w 872"/>
                <a:gd name="T43" fmla="*/ 27 h 30"/>
                <a:gd name="T44" fmla="*/ 868 w 872"/>
                <a:gd name="T45" fmla="*/ 25 h 30"/>
                <a:gd name="T46" fmla="*/ 869 w 872"/>
                <a:gd name="T47" fmla="*/ 23 h 30"/>
                <a:gd name="T48" fmla="*/ 871 w 872"/>
                <a:gd name="T49" fmla="*/ 21 h 30"/>
                <a:gd name="T50" fmla="*/ 871 w 872"/>
                <a:gd name="T51" fmla="*/ 17 h 30"/>
                <a:gd name="T52" fmla="*/ 872 w 872"/>
                <a:gd name="T53" fmla="*/ 15 h 30"/>
                <a:gd name="T54" fmla="*/ 871 w 872"/>
                <a:gd name="T55" fmla="*/ 12 h 30"/>
                <a:gd name="T56" fmla="*/ 871 w 872"/>
                <a:gd name="T57" fmla="*/ 9 h 30"/>
                <a:gd name="T58" fmla="*/ 869 w 872"/>
                <a:gd name="T59" fmla="*/ 7 h 30"/>
                <a:gd name="T60" fmla="*/ 868 w 872"/>
                <a:gd name="T61" fmla="*/ 4 h 30"/>
                <a:gd name="T62" fmla="*/ 866 w 872"/>
                <a:gd name="T63" fmla="*/ 2 h 30"/>
                <a:gd name="T64" fmla="*/ 862 w 872"/>
                <a:gd name="T65" fmla="*/ 1 h 30"/>
                <a:gd name="T66" fmla="*/ 860 w 872"/>
                <a:gd name="T67" fmla="*/ 0 h 30"/>
                <a:gd name="T68" fmla="*/ 857 w 872"/>
                <a:gd name="T6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872" h="30">
                  <a:moveTo>
                    <a:pt x="857" y="0"/>
                  </a:moveTo>
                  <a:lnTo>
                    <a:pt x="15" y="0"/>
                  </a:lnTo>
                  <a:lnTo>
                    <a:pt x="12" y="0"/>
                  </a:lnTo>
                  <a:lnTo>
                    <a:pt x="9" y="1"/>
                  </a:lnTo>
                  <a:lnTo>
                    <a:pt x="6" y="2"/>
                  </a:lnTo>
                  <a:lnTo>
                    <a:pt x="4" y="4"/>
                  </a:lnTo>
                  <a:lnTo>
                    <a:pt x="2" y="7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7"/>
                  </a:lnTo>
                  <a:lnTo>
                    <a:pt x="1" y="21"/>
                  </a:lnTo>
                  <a:lnTo>
                    <a:pt x="2" y="23"/>
                  </a:lnTo>
                  <a:lnTo>
                    <a:pt x="4" y="25"/>
                  </a:lnTo>
                  <a:lnTo>
                    <a:pt x="6" y="27"/>
                  </a:lnTo>
                  <a:lnTo>
                    <a:pt x="9" y="28"/>
                  </a:lnTo>
                  <a:lnTo>
                    <a:pt x="12" y="29"/>
                  </a:lnTo>
                  <a:lnTo>
                    <a:pt x="15" y="30"/>
                  </a:lnTo>
                  <a:lnTo>
                    <a:pt x="857" y="30"/>
                  </a:lnTo>
                  <a:lnTo>
                    <a:pt x="860" y="29"/>
                  </a:lnTo>
                  <a:lnTo>
                    <a:pt x="862" y="28"/>
                  </a:lnTo>
                  <a:lnTo>
                    <a:pt x="866" y="27"/>
                  </a:lnTo>
                  <a:lnTo>
                    <a:pt x="868" y="25"/>
                  </a:lnTo>
                  <a:lnTo>
                    <a:pt x="869" y="23"/>
                  </a:lnTo>
                  <a:lnTo>
                    <a:pt x="871" y="21"/>
                  </a:lnTo>
                  <a:lnTo>
                    <a:pt x="871" y="17"/>
                  </a:lnTo>
                  <a:lnTo>
                    <a:pt x="872" y="15"/>
                  </a:lnTo>
                  <a:lnTo>
                    <a:pt x="871" y="12"/>
                  </a:lnTo>
                  <a:lnTo>
                    <a:pt x="871" y="9"/>
                  </a:lnTo>
                  <a:lnTo>
                    <a:pt x="869" y="7"/>
                  </a:lnTo>
                  <a:lnTo>
                    <a:pt x="868" y="4"/>
                  </a:lnTo>
                  <a:lnTo>
                    <a:pt x="866" y="2"/>
                  </a:lnTo>
                  <a:lnTo>
                    <a:pt x="862" y="1"/>
                  </a:lnTo>
                  <a:lnTo>
                    <a:pt x="860" y="0"/>
                  </a:lnTo>
                  <a:lnTo>
                    <a:pt x="8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" name="Freeform 49">
              <a:extLst>
                <a:ext uri="{FF2B5EF4-FFF2-40B4-BE49-F238E27FC236}">
                  <a16:creationId xmlns:a16="http://schemas.microsoft.com/office/drawing/2014/main" id="{B028FDB3-4B71-4522-8FB8-31DD46F85B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218863" y="3797300"/>
              <a:ext cx="66675" cy="114300"/>
            </a:xfrm>
            <a:custGeom>
              <a:avLst/>
              <a:gdLst>
                <a:gd name="T0" fmla="*/ 120 w 211"/>
                <a:gd name="T1" fmla="*/ 330 h 360"/>
                <a:gd name="T2" fmla="*/ 150 w 211"/>
                <a:gd name="T3" fmla="*/ 30 h 360"/>
                <a:gd name="T4" fmla="*/ 60 w 211"/>
                <a:gd name="T5" fmla="*/ 30 h 360"/>
                <a:gd name="T6" fmla="*/ 90 w 211"/>
                <a:gd name="T7" fmla="*/ 330 h 360"/>
                <a:gd name="T8" fmla="*/ 60 w 211"/>
                <a:gd name="T9" fmla="*/ 30 h 360"/>
                <a:gd name="T10" fmla="*/ 198 w 211"/>
                <a:gd name="T11" fmla="*/ 29 h 360"/>
                <a:gd name="T12" fmla="*/ 204 w 211"/>
                <a:gd name="T13" fmla="*/ 27 h 360"/>
                <a:gd name="T14" fmla="*/ 208 w 211"/>
                <a:gd name="T15" fmla="*/ 23 h 360"/>
                <a:gd name="T16" fmla="*/ 210 w 211"/>
                <a:gd name="T17" fmla="*/ 17 h 360"/>
                <a:gd name="T18" fmla="*/ 210 w 211"/>
                <a:gd name="T19" fmla="*/ 12 h 360"/>
                <a:gd name="T20" fmla="*/ 208 w 211"/>
                <a:gd name="T21" fmla="*/ 7 h 360"/>
                <a:gd name="T22" fmla="*/ 204 w 211"/>
                <a:gd name="T23" fmla="*/ 2 h 360"/>
                <a:gd name="T24" fmla="*/ 198 w 211"/>
                <a:gd name="T25" fmla="*/ 0 h 360"/>
                <a:gd name="T26" fmla="*/ 15 w 211"/>
                <a:gd name="T27" fmla="*/ 0 h 360"/>
                <a:gd name="T28" fmla="*/ 10 w 211"/>
                <a:gd name="T29" fmla="*/ 1 h 360"/>
                <a:gd name="T30" fmla="*/ 4 w 211"/>
                <a:gd name="T31" fmla="*/ 5 h 360"/>
                <a:gd name="T32" fmla="*/ 1 w 211"/>
                <a:gd name="T33" fmla="*/ 9 h 360"/>
                <a:gd name="T34" fmla="*/ 0 w 211"/>
                <a:gd name="T35" fmla="*/ 15 h 360"/>
                <a:gd name="T36" fmla="*/ 1 w 211"/>
                <a:gd name="T37" fmla="*/ 21 h 360"/>
                <a:gd name="T38" fmla="*/ 4 w 211"/>
                <a:gd name="T39" fmla="*/ 26 h 360"/>
                <a:gd name="T40" fmla="*/ 10 w 211"/>
                <a:gd name="T41" fmla="*/ 29 h 360"/>
                <a:gd name="T42" fmla="*/ 15 w 211"/>
                <a:gd name="T43" fmla="*/ 30 h 360"/>
                <a:gd name="T44" fmla="*/ 30 w 211"/>
                <a:gd name="T45" fmla="*/ 330 h 360"/>
                <a:gd name="T46" fmla="*/ 12 w 211"/>
                <a:gd name="T47" fmla="*/ 331 h 360"/>
                <a:gd name="T48" fmla="*/ 6 w 211"/>
                <a:gd name="T49" fmla="*/ 333 h 360"/>
                <a:gd name="T50" fmla="*/ 2 w 211"/>
                <a:gd name="T51" fmla="*/ 338 h 360"/>
                <a:gd name="T52" fmla="*/ 0 w 211"/>
                <a:gd name="T53" fmla="*/ 343 h 360"/>
                <a:gd name="T54" fmla="*/ 0 w 211"/>
                <a:gd name="T55" fmla="*/ 348 h 360"/>
                <a:gd name="T56" fmla="*/ 2 w 211"/>
                <a:gd name="T57" fmla="*/ 354 h 360"/>
                <a:gd name="T58" fmla="*/ 6 w 211"/>
                <a:gd name="T59" fmla="*/ 358 h 360"/>
                <a:gd name="T60" fmla="*/ 12 w 211"/>
                <a:gd name="T61" fmla="*/ 360 h 360"/>
                <a:gd name="T62" fmla="*/ 196 w 211"/>
                <a:gd name="T63" fmla="*/ 360 h 360"/>
                <a:gd name="T64" fmla="*/ 201 w 211"/>
                <a:gd name="T65" fmla="*/ 359 h 360"/>
                <a:gd name="T66" fmla="*/ 206 w 211"/>
                <a:gd name="T67" fmla="*/ 356 h 360"/>
                <a:gd name="T68" fmla="*/ 209 w 211"/>
                <a:gd name="T69" fmla="*/ 352 h 360"/>
                <a:gd name="T70" fmla="*/ 211 w 211"/>
                <a:gd name="T71" fmla="*/ 345 h 360"/>
                <a:gd name="T72" fmla="*/ 209 w 211"/>
                <a:gd name="T73" fmla="*/ 340 h 360"/>
                <a:gd name="T74" fmla="*/ 206 w 211"/>
                <a:gd name="T75" fmla="*/ 334 h 360"/>
                <a:gd name="T76" fmla="*/ 201 w 211"/>
                <a:gd name="T77" fmla="*/ 331 h 360"/>
                <a:gd name="T78" fmla="*/ 196 w 211"/>
                <a:gd name="T79" fmla="*/ 330 h 360"/>
                <a:gd name="T80" fmla="*/ 181 w 211"/>
                <a:gd name="T81" fmla="*/ 30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11" h="360">
                  <a:moveTo>
                    <a:pt x="150" y="330"/>
                  </a:moveTo>
                  <a:lnTo>
                    <a:pt x="120" y="330"/>
                  </a:lnTo>
                  <a:lnTo>
                    <a:pt x="120" y="30"/>
                  </a:lnTo>
                  <a:lnTo>
                    <a:pt x="150" y="30"/>
                  </a:lnTo>
                  <a:lnTo>
                    <a:pt x="150" y="330"/>
                  </a:lnTo>
                  <a:close/>
                  <a:moveTo>
                    <a:pt x="60" y="30"/>
                  </a:moveTo>
                  <a:lnTo>
                    <a:pt x="90" y="30"/>
                  </a:lnTo>
                  <a:lnTo>
                    <a:pt x="90" y="330"/>
                  </a:lnTo>
                  <a:lnTo>
                    <a:pt x="60" y="330"/>
                  </a:lnTo>
                  <a:lnTo>
                    <a:pt x="60" y="30"/>
                  </a:lnTo>
                  <a:close/>
                  <a:moveTo>
                    <a:pt x="196" y="30"/>
                  </a:moveTo>
                  <a:lnTo>
                    <a:pt x="198" y="29"/>
                  </a:lnTo>
                  <a:lnTo>
                    <a:pt x="201" y="29"/>
                  </a:lnTo>
                  <a:lnTo>
                    <a:pt x="204" y="27"/>
                  </a:lnTo>
                  <a:lnTo>
                    <a:pt x="206" y="26"/>
                  </a:lnTo>
                  <a:lnTo>
                    <a:pt x="208" y="23"/>
                  </a:lnTo>
                  <a:lnTo>
                    <a:pt x="209" y="21"/>
                  </a:lnTo>
                  <a:lnTo>
                    <a:pt x="210" y="17"/>
                  </a:lnTo>
                  <a:lnTo>
                    <a:pt x="211" y="15"/>
                  </a:lnTo>
                  <a:lnTo>
                    <a:pt x="210" y="12"/>
                  </a:lnTo>
                  <a:lnTo>
                    <a:pt x="209" y="9"/>
                  </a:lnTo>
                  <a:lnTo>
                    <a:pt x="208" y="7"/>
                  </a:lnTo>
                  <a:lnTo>
                    <a:pt x="206" y="5"/>
                  </a:lnTo>
                  <a:lnTo>
                    <a:pt x="204" y="2"/>
                  </a:lnTo>
                  <a:lnTo>
                    <a:pt x="201" y="1"/>
                  </a:lnTo>
                  <a:lnTo>
                    <a:pt x="198" y="0"/>
                  </a:lnTo>
                  <a:lnTo>
                    <a:pt x="196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10" y="1"/>
                  </a:lnTo>
                  <a:lnTo>
                    <a:pt x="6" y="2"/>
                  </a:lnTo>
                  <a:lnTo>
                    <a:pt x="4" y="5"/>
                  </a:lnTo>
                  <a:lnTo>
                    <a:pt x="2" y="7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7"/>
                  </a:lnTo>
                  <a:lnTo>
                    <a:pt x="1" y="21"/>
                  </a:lnTo>
                  <a:lnTo>
                    <a:pt x="2" y="23"/>
                  </a:lnTo>
                  <a:lnTo>
                    <a:pt x="4" y="26"/>
                  </a:lnTo>
                  <a:lnTo>
                    <a:pt x="6" y="27"/>
                  </a:lnTo>
                  <a:lnTo>
                    <a:pt x="10" y="29"/>
                  </a:lnTo>
                  <a:lnTo>
                    <a:pt x="12" y="29"/>
                  </a:lnTo>
                  <a:lnTo>
                    <a:pt x="15" y="30"/>
                  </a:lnTo>
                  <a:lnTo>
                    <a:pt x="30" y="30"/>
                  </a:lnTo>
                  <a:lnTo>
                    <a:pt x="30" y="330"/>
                  </a:lnTo>
                  <a:lnTo>
                    <a:pt x="15" y="330"/>
                  </a:lnTo>
                  <a:lnTo>
                    <a:pt x="12" y="331"/>
                  </a:lnTo>
                  <a:lnTo>
                    <a:pt x="10" y="331"/>
                  </a:lnTo>
                  <a:lnTo>
                    <a:pt x="6" y="333"/>
                  </a:lnTo>
                  <a:lnTo>
                    <a:pt x="4" y="334"/>
                  </a:lnTo>
                  <a:lnTo>
                    <a:pt x="2" y="338"/>
                  </a:lnTo>
                  <a:lnTo>
                    <a:pt x="1" y="340"/>
                  </a:lnTo>
                  <a:lnTo>
                    <a:pt x="0" y="343"/>
                  </a:lnTo>
                  <a:lnTo>
                    <a:pt x="0" y="345"/>
                  </a:lnTo>
                  <a:lnTo>
                    <a:pt x="0" y="348"/>
                  </a:lnTo>
                  <a:lnTo>
                    <a:pt x="1" y="352"/>
                  </a:lnTo>
                  <a:lnTo>
                    <a:pt x="2" y="354"/>
                  </a:lnTo>
                  <a:lnTo>
                    <a:pt x="4" y="356"/>
                  </a:lnTo>
                  <a:lnTo>
                    <a:pt x="6" y="358"/>
                  </a:lnTo>
                  <a:lnTo>
                    <a:pt x="10" y="359"/>
                  </a:lnTo>
                  <a:lnTo>
                    <a:pt x="12" y="360"/>
                  </a:lnTo>
                  <a:lnTo>
                    <a:pt x="15" y="360"/>
                  </a:lnTo>
                  <a:lnTo>
                    <a:pt x="196" y="360"/>
                  </a:lnTo>
                  <a:lnTo>
                    <a:pt x="198" y="360"/>
                  </a:lnTo>
                  <a:lnTo>
                    <a:pt x="201" y="359"/>
                  </a:lnTo>
                  <a:lnTo>
                    <a:pt x="204" y="358"/>
                  </a:lnTo>
                  <a:lnTo>
                    <a:pt x="206" y="356"/>
                  </a:lnTo>
                  <a:lnTo>
                    <a:pt x="208" y="354"/>
                  </a:lnTo>
                  <a:lnTo>
                    <a:pt x="209" y="352"/>
                  </a:lnTo>
                  <a:lnTo>
                    <a:pt x="210" y="348"/>
                  </a:lnTo>
                  <a:lnTo>
                    <a:pt x="211" y="345"/>
                  </a:lnTo>
                  <a:lnTo>
                    <a:pt x="210" y="343"/>
                  </a:lnTo>
                  <a:lnTo>
                    <a:pt x="209" y="340"/>
                  </a:lnTo>
                  <a:lnTo>
                    <a:pt x="208" y="338"/>
                  </a:lnTo>
                  <a:lnTo>
                    <a:pt x="206" y="334"/>
                  </a:lnTo>
                  <a:lnTo>
                    <a:pt x="204" y="333"/>
                  </a:lnTo>
                  <a:lnTo>
                    <a:pt x="201" y="331"/>
                  </a:lnTo>
                  <a:lnTo>
                    <a:pt x="198" y="331"/>
                  </a:lnTo>
                  <a:lnTo>
                    <a:pt x="196" y="330"/>
                  </a:lnTo>
                  <a:lnTo>
                    <a:pt x="181" y="330"/>
                  </a:lnTo>
                  <a:lnTo>
                    <a:pt x="181" y="30"/>
                  </a:lnTo>
                  <a:lnTo>
                    <a:pt x="196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" name="Freeform 50">
              <a:extLst>
                <a:ext uri="{FF2B5EF4-FFF2-40B4-BE49-F238E27FC236}">
                  <a16:creationId xmlns:a16="http://schemas.microsoft.com/office/drawing/2014/main" id="{4CEC359C-5302-45D3-84F0-1878A24276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047413" y="3797300"/>
              <a:ext cx="66675" cy="114300"/>
            </a:xfrm>
            <a:custGeom>
              <a:avLst/>
              <a:gdLst>
                <a:gd name="T0" fmla="*/ 120 w 210"/>
                <a:gd name="T1" fmla="*/ 330 h 360"/>
                <a:gd name="T2" fmla="*/ 150 w 210"/>
                <a:gd name="T3" fmla="*/ 30 h 360"/>
                <a:gd name="T4" fmla="*/ 60 w 210"/>
                <a:gd name="T5" fmla="*/ 30 h 360"/>
                <a:gd name="T6" fmla="*/ 90 w 210"/>
                <a:gd name="T7" fmla="*/ 330 h 360"/>
                <a:gd name="T8" fmla="*/ 60 w 210"/>
                <a:gd name="T9" fmla="*/ 30 h 360"/>
                <a:gd name="T10" fmla="*/ 198 w 210"/>
                <a:gd name="T11" fmla="*/ 29 h 360"/>
                <a:gd name="T12" fmla="*/ 204 w 210"/>
                <a:gd name="T13" fmla="*/ 27 h 360"/>
                <a:gd name="T14" fmla="*/ 208 w 210"/>
                <a:gd name="T15" fmla="*/ 23 h 360"/>
                <a:gd name="T16" fmla="*/ 210 w 210"/>
                <a:gd name="T17" fmla="*/ 17 h 360"/>
                <a:gd name="T18" fmla="*/ 210 w 210"/>
                <a:gd name="T19" fmla="*/ 12 h 360"/>
                <a:gd name="T20" fmla="*/ 208 w 210"/>
                <a:gd name="T21" fmla="*/ 7 h 360"/>
                <a:gd name="T22" fmla="*/ 204 w 210"/>
                <a:gd name="T23" fmla="*/ 2 h 360"/>
                <a:gd name="T24" fmla="*/ 198 w 210"/>
                <a:gd name="T25" fmla="*/ 0 h 360"/>
                <a:gd name="T26" fmla="*/ 15 w 210"/>
                <a:gd name="T27" fmla="*/ 0 h 360"/>
                <a:gd name="T28" fmla="*/ 9 w 210"/>
                <a:gd name="T29" fmla="*/ 1 h 360"/>
                <a:gd name="T30" fmla="*/ 4 w 210"/>
                <a:gd name="T31" fmla="*/ 5 h 360"/>
                <a:gd name="T32" fmla="*/ 1 w 210"/>
                <a:gd name="T33" fmla="*/ 9 h 360"/>
                <a:gd name="T34" fmla="*/ 0 w 210"/>
                <a:gd name="T35" fmla="*/ 15 h 360"/>
                <a:gd name="T36" fmla="*/ 1 w 210"/>
                <a:gd name="T37" fmla="*/ 21 h 360"/>
                <a:gd name="T38" fmla="*/ 4 w 210"/>
                <a:gd name="T39" fmla="*/ 26 h 360"/>
                <a:gd name="T40" fmla="*/ 9 w 210"/>
                <a:gd name="T41" fmla="*/ 29 h 360"/>
                <a:gd name="T42" fmla="*/ 15 w 210"/>
                <a:gd name="T43" fmla="*/ 30 h 360"/>
                <a:gd name="T44" fmla="*/ 30 w 210"/>
                <a:gd name="T45" fmla="*/ 330 h 360"/>
                <a:gd name="T46" fmla="*/ 12 w 210"/>
                <a:gd name="T47" fmla="*/ 331 h 360"/>
                <a:gd name="T48" fmla="*/ 6 w 210"/>
                <a:gd name="T49" fmla="*/ 333 h 360"/>
                <a:gd name="T50" fmla="*/ 2 w 210"/>
                <a:gd name="T51" fmla="*/ 338 h 360"/>
                <a:gd name="T52" fmla="*/ 0 w 210"/>
                <a:gd name="T53" fmla="*/ 343 h 360"/>
                <a:gd name="T54" fmla="*/ 0 w 210"/>
                <a:gd name="T55" fmla="*/ 348 h 360"/>
                <a:gd name="T56" fmla="*/ 2 w 210"/>
                <a:gd name="T57" fmla="*/ 354 h 360"/>
                <a:gd name="T58" fmla="*/ 6 w 210"/>
                <a:gd name="T59" fmla="*/ 358 h 360"/>
                <a:gd name="T60" fmla="*/ 12 w 210"/>
                <a:gd name="T61" fmla="*/ 360 h 360"/>
                <a:gd name="T62" fmla="*/ 195 w 210"/>
                <a:gd name="T63" fmla="*/ 360 h 360"/>
                <a:gd name="T64" fmla="*/ 201 w 210"/>
                <a:gd name="T65" fmla="*/ 359 h 360"/>
                <a:gd name="T66" fmla="*/ 206 w 210"/>
                <a:gd name="T67" fmla="*/ 356 h 360"/>
                <a:gd name="T68" fmla="*/ 209 w 210"/>
                <a:gd name="T69" fmla="*/ 352 h 360"/>
                <a:gd name="T70" fmla="*/ 210 w 210"/>
                <a:gd name="T71" fmla="*/ 345 h 360"/>
                <a:gd name="T72" fmla="*/ 209 w 210"/>
                <a:gd name="T73" fmla="*/ 340 h 360"/>
                <a:gd name="T74" fmla="*/ 206 w 210"/>
                <a:gd name="T75" fmla="*/ 334 h 360"/>
                <a:gd name="T76" fmla="*/ 201 w 210"/>
                <a:gd name="T77" fmla="*/ 331 h 360"/>
                <a:gd name="T78" fmla="*/ 195 w 210"/>
                <a:gd name="T79" fmla="*/ 330 h 360"/>
                <a:gd name="T80" fmla="*/ 180 w 210"/>
                <a:gd name="T81" fmla="*/ 30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10" h="360">
                  <a:moveTo>
                    <a:pt x="150" y="330"/>
                  </a:moveTo>
                  <a:lnTo>
                    <a:pt x="120" y="330"/>
                  </a:lnTo>
                  <a:lnTo>
                    <a:pt x="120" y="30"/>
                  </a:lnTo>
                  <a:lnTo>
                    <a:pt x="150" y="30"/>
                  </a:lnTo>
                  <a:lnTo>
                    <a:pt x="150" y="330"/>
                  </a:lnTo>
                  <a:close/>
                  <a:moveTo>
                    <a:pt x="60" y="30"/>
                  </a:moveTo>
                  <a:lnTo>
                    <a:pt x="90" y="30"/>
                  </a:lnTo>
                  <a:lnTo>
                    <a:pt x="90" y="330"/>
                  </a:lnTo>
                  <a:lnTo>
                    <a:pt x="60" y="330"/>
                  </a:lnTo>
                  <a:lnTo>
                    <a:pt x="60" y="30"/>
                  </a:lnTo>
                  <a:close/>
                  <a:moveTo>
                    <a:pt x="195" y="30"/>
                  </a:moveTo>
                  <a:lnTo>
                    <a:pt x="198" y="29"/>
                  </a:lnTo>
                  <a:lnTo>
                    <a:pt x="201" y="29"/>
                  </a:lnTo>
                  <a:lnTo>
                    <a:pt x="204" y="27"/>
                  </a:lnTo>
                  <a:lnTo>
                    <a:pt x="206" y="26"/>
                  </a:lnTo>
                  <a:lnTo>
                    <a:pt x="208" y="23"/>
                  </a:lnTo>
                  <a:lnTo>
                    <a:pt x="209" y="21"/>
                  </a:lnTo>
                  <a:lnTo>
                    <a:pt x="210" y="17"/>
                  </a:lnTo>
                  <a:lnTo>
                    <a:pt x="210" y="15"/>
                  </a:lnTo>
                  <a:lnTo>
                    <a:pt x="210" y="12"/>
                  </a:lnTo>
                  <a:lnTo>
                    <a:pt x="209" y="9"/>
                  </a:lnTo>
                  <a:lnTo>
                    <a:pt x="208" y="7"/>
                  </a:lnTo>
                  <a:lnTo>
                    <a:pt x="206" y="5"/>
                  </a:lnTo>
                  <a:lnTo>
                    <a:pt x="204" y="2"/>
                  </a:lnTo>
                  <a:lnTo>
                    <a:pt x="201" y="1"/>
                  </a:lnTo>
                  <a:lnTo>
                    <a:pt x="198" y="0"/>
                  </a:lnTo>
                  <a:lnTo>
                    <a:pt x="195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9" y="1"/>
                  </a:lnTo>
                  <a:lnTo>
                    <a:pt x="6" y="2"/>
                  </a:lnTo>
                  <a:lnTo>
                    <a:pt x="4" y="5"/>
                  </a:lnTo>
                  <a:lnTo>
                    <a:pt x="2" y="7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7"/>
                  </a:lnTo>
                  <a:lnTo>
                    <a:pt x="1" y="21"/>
                  </a:lnTo>
                  <a:lnTo>
                    <a:pt x="2" y="23"/>
                  </a:lnTo>
                  <a:lnTo>
                    <a:pt x="4" y="26"/>
                  </a:lnTo>
                  <a:lnTo>
                    <a:pt x="6" y="27"/>
                  </a:lnTo>
                  <a:lnTo>
                    <a:pt x="9" y="29"/>
                  </a:lnTo>
                  <a:lnTo>
                    <a:pt x="12" y="29"/>
                  </a:lnTo>
                  <a:lnTo>
                    <a:pt x="15" y="30"/>
                  </a:lnTo>
                  <a:lnTo>
                    <a:pt x="30" y="30"/>
                  </a:lnTo>
                  <a:lnTo>
                    <a:pt x="30" y="330"/>
                  </a:lnTo>
                  <a:lnTo>
                    <a:pt x="15" y="330"/>
                  </a:lnTo>
                  <a:lnTo>
                    <a:pt x="12" y="331"/>
                  </a:lnTo>
                  <a:lnTo>
                    <a:pt x="9" y="331"/>
                  </a:lnTo>
                  <a:lnTo>
                    <a:pt x="6" y="333"/>
                  </a:lnTo>
                  <a:lnTo>
                    <a:pt x="4" y="334"/>
                  </a:lnTo>
                  <a:lnTo>
                    <a:pt x="2" y="338"/>
                  </a:lnTo>
                  <a:lnTo>
                    <a:pt x="1" y="340"/>
                  </a:lnTo>
                  <a:lnTo>
                    <a:pt x="0" y="343"/>
                  </a:lnTo>
                  <a:lnTo>
                    <a:pt x="0" y="345"/>
                  </a:lnTo>
                  <a:lnTo>
                    <a:pt x="0" y="348"/>
                  </a:lnTo>
                  <a:lnTo>
                    <a:pt x="1" y="352"/>
                  </a:lnTo>
                  <a:lnTo>
                    <a:pt x="2" y="354"/>
                  </a:lnTo>
                  <a:lnTo>
                    <a:pt x="4" y="356"/>
                  </a:lnTo>
                  <a:lnTo>
                    <a:pt x="6" y="358"/>
                  </a:lnTo>
                  <a:lnTo>
                    <a:pt x="9" y="359"/>
                  </a:lnTo>
                  <a:lnTo>
                    <a:pt x="12" y="360"/>
                  </a:lnTo>
                  <a:lnTo>
                    <a:pt x="15" y="360"/>
                  </a:lnTo>
                  <a:lnTo>
                    <a:pt x="195" y="360"/>
                  </a:lnTo>
                  <a:lnTo>
                    <a:pt x="198" y="360"/>
                  </a:lnTo>
                  <a:lnTo>
                    <a:pt x="201" y="359"/>
                  </a:lnTo>
                  <a:lnTo>
                    <a:pt x="204" y="358"/>
                  </a:lnTo>
                  <a:lnTo>
                    <a:pt x="206" y="356"/>
                  </a:lnTo>
                  <a:lnTo>
                    <a:pt x="208" y="354"/>
                  </a:lnTo>
                  <a:lnTo>
                    <a:pt x="209" y="352"/>
                  </a:lnTo>
                  <a:lnTo>
                    <a:pt x="210" y="348"/>
                  </a:lnTo>
                  <a:lnTo>
                    <a:pt x="210" y="345"/>
                  </a:lnTo>
                  <a:lnTo>
                    <a:pt x="210" y="343"/>
                  </a:lnTo>
                  <a:lnTo>
                    <a:pt x="209" y="340"/>
                  </a:lnTo>
                  <a:lnTo>
                    <a:pt x="208" y="338"/>
                  </a:lnTo>
                  <a:lnTo>
                    <a:pt x="206" y="334"/>
                  </a:lnTo>
                  <a:lnTo>
                    <a:pt x="204" y="333"/>
                  </a:lnTo>
                  <a:lnTo>
                    <a:pt x="201" y="331"/>
                  </a:lnTo>
                  <a:lnTo>
                    <a:pt x="198" y="331"/>
                  </a:lnTo>
                  <a:lnTo>
                    <a:pt x="195" y="330"/>
                  </a:lnTo>
                  <a:lnTo>
                    <a:pt x="180" y="330"/>
                  </a:lnTo>
                  <a:lnTo>
                    <a:pt x="180" y="30"/>
                  </a:lnTo>
                  <a:lnTo>
                    <a:pt x="195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" name="Freeform 51">
              <a:extLst>
                <a:ext uri="{FF2B5EF4-FFF2-40B4-BE49-F238E27FC236}">
                  <a16:creationId xmlns:a16="http://schemas.microsoft.com/office/drawing/2014/main" id="{6F9DB38D-AE1F-4596-885D-E353719A58A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133138" y="3797300"/>
              <a:ext cx="66675" cy="114300"/>
            </a:xfrm>
            <a:custGeom>
              <a:avLst/>
              <a:gdLst>
                <a:gd name="T0" fmla="*/ 121 w 211"/>
                <a:gd name="T1" fmla="*/ 330 h 360"/>
                <a:gd name="T2" fmla="*/ 151 w 211"/>
                <a:gd name="T3" fmla="*/ 30 h 360"/>
                <a:gd name="T4" fmla="*/ 61 w 211"/>
                <a:gd name="T5" fmla="*/ 30 h 360"/>
                <a:gd name="T6" fmla="*/ 91 w 211"/>
                <a:gd name="T7" fmla="*/ 330 h 360"/>
                <a:gd name="T8" fmla="*/ 61 w 211"/>
                <a:gd name="T9" fmla="*/ 30 h 360"/>
                <a:gd name="T10" fmla="*/ 199 w 211"/>
                <a:gd name="T11" fmla="*/ 29 h 360"/>
                <a:gd name="T12" fmla="*/ 205 w 211"/>
                <a:gd name="T13" fmla="*/ 27 h 360"/>
                <a:gd name="T14" fmla="*/ 209 w 211"/>
                <a:gd name="T15" fmla="*/ 23 h 360"/>
                <a:gd name="T16" fmla="*/ 211 w 211"/>
                <a:gd name="T17" fmla="*/ 17 h 360"/>
                <a:gd name="T18" fmla="*/ 211 w 211"/>
                <a:gd name="T19" fmla="*/ 12 h 360"/>
                <a:gd name="T20" fmla="*/ 209 w 211"/>
                <a:gd name="T21" fmla="*/ 7 h 360"/>
                <a:gd name="T22" fmla="*/ 205 w 211"/>
                <a:gd name="T23" fmla="*/ 2 h 360"/>
                <a:gd name="T24" fmla="*/ 199 w 211"/>
                <a:gd name="T25" fmla="*/ 0 h 360"/>
                <a:gd name="T26" fmla="*/ 15 w 211"/>
                <a:gd name="T27" fmla="*/ 0 h 360"/>
                <a:gd name="T28" fmla="*/ 10 w 211"/>
                <a:gd name="T29" fmla="*/ 1 h 360"/>
                <a:gd name="T30" fmla="*/ 5 w 211"/>
                <a:gd name="T31" fmla="*/ 5 h 360"/>
                <a:gd name="T32" fmla="*/ 2 w 211"/>
                <a:gd name="T33" fmla="*/ 9 h 360"/>
                <a:gd name="T34" fmla="*/ 0 w 211"/>
                <a:gd name="T35" fmla="*/ 15 h 360"/>
                <a:gd name="T36" fmla="*/ 2 w 211"/>
                <a:gd name="T37" fmla="*/ 21 h 360"/>
                <a:gd name="T38" fmla="*/ 5 w 211"/>
                <a:gd name="T39" fmla="*/ 26 h 360"/>
                <a:gd name="T40" fmla="*/ 10 w 211"/>
                <a:gd name="T41" fmla="*/ 29 h 360"/>
                <a:gd name="T42" fmla="*/ 15 w 211"/>
                <a:gd name="T43" fmla="*/ 30 h 360"/>
                <a:gd name="T44" fmla="*/ 31 w 211"/>
                <a:gd name="T45" fmla="*/ 330 h 360"/>
                <a:gd name="T46" fmla="*/ 13 w 211"/>
                <a:gd name="T47" fmla="*/ 331 h 360"/>
                <a:gd name="T48" fmla="*/ 7 w 211"/>
                <a:gd name="T49" fmla="*/ 333 h 360"/>
                <a:gd name="T50" fmla="*/ 3 w 211"/>
                <a:gd name="T51" fmla="*/ 338 h 360"/>
                <a:gd name="T52" fmla="*/ 1 w 211"/>
                <a:gd name="T53" fmla="*/ 343 h 360"/>
                <a:gd name="T54" fmla="*/ 1 w 211"/>
                <a:gd name="T55" fmla="*/ 348 h 360"/>
                <a:gd name="T56" fmla="*/ 3 w 211"/>
                <a:gd name="T57" fmla="*/ 354 h 360"/>
                <a:gd name="T58" fmla="*/ 7 w 211"/>
                <a:gd name="T59" fmla="*/ 358 h 360"/>
                <a:gd name="T60" fmla="*/ 13 w 211"/>
                <a:gd name="T61" fmla="*/ 360 h 360"/>
                <a:gd name="T62" fmla="*/ 196 w 211"/>
                <a:gd name="T63" fmla="*/ 360 h 360"/>
                <a:gd name="T64" fmla="*/ 201 w 211"/>
                <a:gd name="T65" fmla="*/ 359 h 360"/>
                <a:gd name="T66" fmla="*/ 207 w 211"/>
                <a:gd name="T67" fmla="*/ 356 h 360"/>
                <a:gd name="T68" fmla="*/ 210 w 211"/>
                <a:gd name="T69" fmla="*/ 352 h 360"/>
                <a:gd name="T70" fmla="*/ 211 w 211"/>
                <a:gd name="T71" fmla="*/ 345 h 360"/>
                <a:gd name="T72" fmla="*/ 210 w 211"/>
                <a:gd name="T73" fmla="*/ 340 h 360"/>
                <a:gd name="T74" fmla="*/ 207 w 211"/>
                <a:gd name="T75" fmla="*/ 334 h 360"/>
                <a:gd name="T76" fmla="*/ 201 w 211"/>
                <a:gd name="T77" fmla="*/ 331 h 360"/>
                <a:gd name="T78" fmla="*/ 196 w 211"/>
                <a:gd name="T79" fmla="*/ 330 h 360"/>
                <a:gd name="T80" fmla="*/ 181 w 211"/>
                <a:gd name="T81" fmla="*/ 30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11" h="360">
                  <a:moveTo>
                    <a:pt x="151" y="330"/>
                  </a:moveTo>
                  <a:lnTo>
                    <a:pt x="121" y="330"/>
                  </a:lnTo>
                  <a:lnTo>
                    <a:pt x="121" y="30"/>
                  </a:lnTo>
                  <a:lnTo>
                    <a:pt x="151" y="30"/>
                  </a:lnTo>
                  <a:lnTo>
                    <a:pt x="151" y="330"/>
                  </a:lnTo>
                  <a:close/>
                  <a:moveTo>
                    <a:pt x="61" y="30"/>
                  </a:moveTo>
                  <a:lnTo>
                    <a:pt x="91" y="30"/>
                  </a:lnTo>
                  <a:lnTo>
                    <a:pt x="91" y="330"/>
                  </a:lnTo>
                  <a:lnTo>
                    <a:pt x="61" y="330"/>
                  </a:lnTo>
                  <a:lnTo>
                    <a:pt x="61" y="30"/>
                  </a:lnTo>
                  <a:close/>
                  <a:moveTo>
                    <a:pt x="196" y="30"/>
                  </a:moveTo>
                  <a:lnTo>
                    <a:pt x="199" y="29"/>
                  </a:lnTo>
                  <a:lnTo>
                    <a:pt x="201" y="29"/>
                  </a:lnTo>
                  <a:lnTo>
                    <a:pt x="205" y="27"/>
                  </a:lnTo>
                  <a:lnTo>
                    <a:pt x="207" y="26"/>
                  </a:lnTo>
                  <a:lnTo>
                    <a:pt x="209" y="23"/>
                  </a:lnTo>
                  <a:lnTo>
                    <a:pt x="210" y="21"/>
                  </a:lnTo>
                  <a:lnTo>
                    <a:pt x="211" y="17"/>
                  </a:lnTo>
                  <a:lnTo>
                    <a:pt x="211" y="15"/>
                  </a:lnTo>
                  <a:lnTo>
                    <a:pt x="211" y="12"/>
                  </a:lnTo>
                  <a:lnTo>
                    <a:pt x="210" y="9"/>
                  </a:lnTo>
                  <a:lnTo>
                    <a:pt x="209" y="7"/>
                  </a:lnTo>
                  <a:lnTo>
                    <a:pt x="207" y="5"/>
                  </a:lnTo>
                  <a:lnTo>
                    <a:pt x="205" y="2"/>
                  </a:lnTo>
                  <a:lnTo>
                    <a:pt x="201" y="1"/>
                  </a:lnTo>
                  <a:lnTo>
                    <a:pt x="199" y="0"/>
                  </a:lnTo>
                  <a:lnTo>
                    <a:pt x="196" y="0"/>
                  </a:lnTo>
                  <a:lnTo>
                    <a:pt x="15" y="0"/>
                  </a:lnTo>
                  <a:lnTo>
                    <a:pt x="13" y="0"/>
                  </a:lnTo>
                  <a:lnTo>
                    <a:pt x="10" y="1"/>
                  </a:lnTo>
                  <a:lnTo>
                    <a:pt x="7" y="2"/>
                  </a:lnTo>
                  <a:lnTo>
                    <a:pt x="5" y="5"/>
                  </a:lnTo>
                  <a:lnTo>
                    <a:pt x="3" y="7"/>
                  </a:lnTo>
                  <a:lnTo>
                    <a:pt x="2" y="9"/>
                  </a:lnTo>
                  <a:lnTo>
                    <a:pt x="1" y="12"/>
                  </a:lnTo>
                  <a:lnTo>
                    <a:pt x="0" y="15"/>
                  </a:lnTo>
                  <a:lnTo>
                    <a:pt x="1" y="17"/>
                  </a:lnTo>
                  <a:lnTo>
                    <a:pt x="2" y="21"/>
                  </a:lnTo>
                  <a:lnTo>
                    <a:pt x="3" y="23"/>
                  </a:lnTo>
                  <a:lnTo>
                    <a:pt x="5" y="26"/>
                  </a:lnTo>
                  <a:lnTo>
                    <a:pt x="7" y="27"/>
                  </a:lnTo>
                  <a:lnTo>
                    <a:pt x="10" y="29"/>
                  </a:lnTo>
                  <a:lnTo>
                    <a:pt x="13" y="29"/>
                  </a:lnTo>
                  <a:lnTo>
                    <a:pt x="15" y="30"/>
                  </a:lnTo>
                  <a:lnTo>
                    <a:pt x="31" y="30"/>
                  </a:lnTo>
                  <a:lnTo>
                    <a:pt x="31" y="330"/>
                  </a:lnTo>
                  <a:lnTo>
                    <a:pt x="15" y="330"/>
                  </a:lnTo>
                  <a:lnTo>
                    <a:pt x="13" y="331"/>
                  </a:lnTo>
                  <a:lnTo>
                    <a:pt x="10" y="331"/>
                  </a:lnTo>
                  <a:lnTo>
                    <a:pt x="7" y="333"/>
                  </a:lnTo>
                  <a:lnTo>
                    <a:pt x="5" y="334"/>
                  </a:lnTo>
                  <a:lnTo>
                    <a:pt x="3" y="338"/>
                  </a:lnTo>
                  <a:lnTo>
                    <a:pt x="2" y="340"/>
                  </a:lnTo>
                  <a:lnTo>
                    <a:pt x="1" y="343"/>
                  </a:lnTo>
                  <a:lnTo>
                    <a:pt x="0" y="345"/>
                  </a:lnTo>
                  <a:lnTo>
                    <a:pt x="1" y="348"/>
                  </a:lnTo>
                  <a:lnTo>
                    <a:pt x="2" y="352"/>
                  </a:lnTo>
                  <a:lnTo>
                    <a:pt x="3" y="354"/>
                  </a:lnTo>
                  <a:lnTo>
                    <a:pt x="5" y="356"/>
                  </a:lnTo>
                  <a:lnTo>
                    <a:pt x="7" y="358"/>
                  </a:lnTo>
                  <a:lnTo>
                    <a:pt x="10" y="359"/>
                  </a:lnTo>
                  <a:lnTo>
                    <a:pt x="13" y="360"/>
                  </a:lnTo>
                  <a:lnTo>
                    <a:pt x="15" y="360"/>
                  </a:lnTo>
                  <a:lnTo>
                    <a:pt x="196" y="360"/>
                  </a:lnTo>
                  <a:lnTo>
                    <a:pt x="199" y="360"/>
                  </a:lnTo>
                  <a:lnTo>
                    <a:pt x="201" y="359"/>
                  </a:lnTo>
                  <a:lnTo>
                    <a:pt x="205" y="358"/>
                  </a:lnTo>
                  <a:lnTo>
                    <a:pt x="207" y="356"/>
                  </a:lnTo>
                  <a:lnTo>
                    <a:pt x="209" y="354"/>
                  </a:lnTo>
                  <a:lnTo>
                    <a:pt x="210" y="352"/>
                  </a:lnTo>
                  <a:lnTo>
                    <a:pt x="211" y="348"/>
                  </a:lnTo>
                  <a:lnTo>
                    <a:pt x="211" y="345"/>
                  </a:lnTo>
                  <a:lnTo>
                    <a:pt x="211" y="343"/>
                  </a:lnTo>
                  <a:lnTo>
                    <a:pt x="210" y="340"/>
                  </a:lnTo>
                  <a:lnTo>
                    <a:pt x="209" y="338"/>
                  </a:lnTo>
                  <a:lnTo>
                    <a:pt x="207" y="334"/>
                  </a:lnTo>
                  <a:lnTo>
                    <a:pt x="205" y="333"/>
                  </a:lnTo>
                  <a:lnTo>
                    <a:pt x="201" y="331"/>
                  </a:lnTo>
                  <a:lnTo>
                    <a:pt x="199" y="331"/>
                  </a:lnTo>
                  <a:lnTo>
                    <a:pt x="196" y="330"/>
                  </a:lnTo>
                  <a:lnTo>
                    <a:pt x="181" y="330"/>
                  </a:lnTo>
                  <a:lnTo>
                    <a:pt x="181" y="30"/>
                  </a:lnTo>
                  <a:lnTo>
                    <a:pt x="196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6" name="Freeform 52">
              <a:extLst>
                <a:ext uri="{FF2B5EF4-FFF2-40B4-BE49-F238E27FC236}">
                  <a16:creationId xmlns:a16="http://schemas.microsoft.com/office/drawing/2014/main" id="{74057B4E-AE29-4383-8B43-704A68C1E2A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028363" y="3683000"/>
              <a:ext cx="276225" cy="104775"/>
            </a:xfrm>
            <a:custGeom>
              <a:avLst/>
              <a:gdLst>
                <a:gd name="T0" fmla="*/ 436 w 872"/>
                <a:gd name="T1" fmla="*/ 33 h 331"/>
                <a:gd name="T2" fmla="*/ 810 w 872"/>
                <a:gd name="T3" fmla="*/ 300 h 331"/>
                <a:gd name="T4" fmla="*/ 62 w 872"/>
                <a:gd name="T5" fmla="*/ 300 h 331"/>
                <a:gd name="T6" fmla="*/ 436 w 872"/>
                <a:gd name="T7" fmla="*/ 33 h 331"/>
                <a:gd name="T8" fmla="*/ 15 w 872"/>
                <a:gd name="T9" fmla="*/ 330 h 331"/>
                <a:gd name="T10" fmla="*/ 857 w 872"/>
                <a:gd name="T11" fmla="*/ 330 h 331"/>
                <a:gd name="T12" fmla="*/ 861 w 872"/>
                <a:gd name="T13" fmla="*/ 330 h 331"/>
                <a:gd name="T14" fmla="*/ 866 w 872"/>
                <a:gd name="T15" fmla="*/ 328 h 331"/>
                <a:gd name="T16" fmla="*/ 869 w 872"/>
                <a:gd name="T17" fmla="*/ 325 h 331"/>
                <a:gd name="T18" fmla="*/ 871 w 872"/>
                <a:gd name="T19" fmla="*/ 321 h 331"/>
                <a:gd name="T20" fmla="*/ 872 w 872"/>
                <a:gd name="T21" fmla="*/ 315 h 331"/>
                <a:gd name="T22" fmla="*/ 871 w 872"/>
                <a:gd name="T23" fmla="*/ 311 h 331"/>
                <a:gd name="T24" fmla="*/ 869 w 872"/>
                <a:gd name="T25" fmla="*/ 307 h 331"/>
                <a:gd name="T26" fmla="*/ 866 w 872"/>
                <a:gd name="T27" fmla="*/ 303 h 331"/>
                <a:gd name="T28" fmla="*/ 445 w 872"/>
                <a:gd name="T29" fmla="*/ 2 h 331"/>
                <a:gd name="T30" fmla="*/ 440 w 872"/>
                <a:gd name="T31" fmla="*/ 0 h 331"/>
                <a:gd name="T32" fmla="*/ 436 w 872"/>
                <a:gd name="T33" fmla="*/ 0 h 331"/>
                <a:gd name="T34" fmla="*/ 431 w 872"/>
                <a:gd name="T35" fmla="*/ 0 h 331"/>
                <a:gd name="T36" fmla="*/ 427 w 872"/>
                <a:gd name="T37" fmla="*/ 2 h 331"/>
                <a:gd name="T38" fmla="*/ 6 w 872"/>
                <a:gd name="T39" fmla="*/ 303 h 331"/>
                <a:gd name="T40" fmla="*/ 2 w 872"/>
                <a:gd name="T41" fmla="*/ 307 h 331"/>
                <a:gd name="T42" fmla="*/ 0 w 872"/>
                <a:gd name="T43" fmla="*/ 311 h 331"/>
                <a:gd name="T44" fmla="*/ 0 w 872"/>
                <a:gd name="T45" fmla="*/ 315 h 331"/>
                <a:gd name="T46" fmla="*/ 0 w 872"/>
                <a:gd name="T47" fmla="*/ 321 h 331"/>
                <a:gd name="T48" fmla="*/ 2 w 872"/>
                <a:gd name="T49" fmla="*/ 325 h 331"/>
                <a:gd name="T50" fmla="*/ 5 w 872"/>
                <a:gd name="T51" fmla="*/ 328 h 331"/>
                <a:gd name="T52" fmla="*/ 10 w 872"/>
                <a:gd name="T53" fmla="*/ 330 h 331"/>
                <a:gd name="T54" fmla="*/ 15 w 872"/>
                <a:gd name="T55" fmla="*/ 331 h 331"/>
                <a:gd name="T56" fmla="*/ 15 w 872"/>
                <a:gd name="T57" fmla="*/ 330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72" h="331">
                  <a:moveTo>
                    <a:pt x="436" y="33"/>
                  </a:moveTo>
                  <a:lnTo>
                    <a:pt x="810" y="300"/>
                  </a:lnTo>
                  <a:lnTo>
                    <a:pt x="62" y="300"/>
                  </a:lnTo>
                  <a:lnTo>
                    <a:pt x="436" y="33"/>
                  </a:lnTo>
                  <a:close/>
                  <a:moveTo>
                    <a:pt x="15" y="330"/>
                  </a:moveTo>
                  <a:lnTo>
                    <a:pt x="857" y="330"/>
                  </a:lnTo>
                  <a:lnTo>
                    <a:pt x="861" y="330"/>
                  </a:lnTo>
                  <a:lnTo>
                    <a:pt x="866" y="328"/>
                  </a:lnTo>
                  <a:lnTo>
                    <a:pt x="869" y="325"/>
                  </a:lnTo>
                  <a:lnTo>
                    <a:pt x="871" y="321"/>
                  </a:lnTo>
                  <a:lnTo>
                    <a:pt x="872" y="315"/>
                  </a:lnTo>
                  <a:lnTo>
                    <a:pt x="871" y="311"/>
                  </a:lnTo>
                  <a:lnTo>
                    <a:pt x="869" y="307"/>
                  </a:lnTo>
                  <a:lnTo>
                    <a:pt x="866" y="303"/>
                  </a:lnTo>
                  <a:lnTo>
                    <a:pt x="445" y="2"/>
                  </a:lnTo>
                  <a:lnTo>
                    <a:pt x="440" y="0"/>
                  </a:lnTo>
                  <a:lnTo>
                    <a:pt x="436" y="0"/>
                  </a:lnTo>
                  <a:lnTo>
                    <a:pt x="431" y="0"/>
                  </a:lnTo>
                  <a:lnTo>
                    <a:pt x="427" y="2"/>
                  </a:lnTo>
                  <a:lnTo>
                    <a:pt x="6" y="303"/>
                  </a:lnTo>
                  <a:lnTo>
                    <a:pt x="2" y="307"/>
                  </a:lnTo>
                  <a:lnTo>
                    <a:pt x="0" y="311"/>
                  </a:lnTo>
                  <a:lnTo>
                    <a:pt x="0" y="315"/>
                  </a:lnTo>
                  <a:lnTo>
                    <a:pt x="0" y="321"/>
                  </a:lnTo>
                  <a:lnTo>
                    <a:pt x="2" y="325"/>
                  </a:lnTo>
                  <a:lnTo>
                    <a:pt x="5" y="328"/>
                  </a:lnTo>
                  <a:lnTo>
                    <a:pt x="10" y="330"/>
                  </a:lnTo>
                  <a:lnTo>
                    <a:pt x="15" y="331"/>
                  </a:lnTo>
                  <a:lnTo>
                    <a:pt x="15" y="3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17" name="Group 116">
            <a:extLst>
              <a:ext uri="{FF2B5EF4-FFF2-40B4-BE49-F238E27FC236}">
                <a16:creationId xmlns:a16="http://schemas.microsoft.com/office/drawing/2014/main" id="{6C99321B-8B3F-4B91-8A21-8D78E8C5D6C5}"/>
              </a:ext>
            </a:extLst>
          </p:cNvPr>
          <p:cNvGrpSpPr/>
          <p:nvPr/>
        </p:nvGrpSpPr>
        <p:grpSpPr>
          <a:xfrm>
            <a:off x="7626054" y="4808604"/>
            <a:ext cx="757248" cy="757248"/>
            <a:chOff x="8164513" y="4791075"/>
            <a:chExt cx="285750" cy="285750"/>
          </a:xfrm>
          <a:solidFill>
            <a:schemeClr val="bg1"/>
          </a:solidFill>
          <a:scene3d>
            <a:camera prst="isometricTopUp"/>
            <a:lightRig rig="threePt" dir="t"/>
          </a:scene3d>
        </p:grpSpPr>
        <p:sp>
          <p:nvSpPr>
            <p:cNvPr id="118" name="Freeform 108">
              <a:extLst>
                <a:ext uri="{FF2B5EF4-FFF2-40B4-BE49-F238E27FC236}">
                  <a16:creationId xmlns:a16="http://schemas.microsoft.com/office/drawing/2014/main" id="{E1A67703-73E4-4765-8095-170EFA905FF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164513" y="4791075"/>
              <a:ext cx="285750" cy="285750"/>
            </a:xfrm>
            <a:custGeom>
              <a:avLst/>
              <a:gdLst>
                <a:gd name="T0" fmla="*/ 30 w 902"/>
                <a:gd name="T1" fmla="*/ 571 h 902"/>
                <a:gd name="T2" fmla="*/ 872 w 902"/>
                <a:gd name="T3" fmla="*/ 30 h 902"/>
                <a:gd name="T4" fmla="*/ 887 w 902"/>
                <a:gd name="T5" fmla="*/ 0 h 902"/>
                <a:gd name="T6" fmla="*/ 12 w 902"/>
                <a:gd name="T7" fmla="*/ 0 h 902"/>
                <a:gd name="T8" fmla="*/ 6 w 902"/>
                <a:gd name="T9" fmla="*/ 2 h 902"/>
                <a:gd name="T10" fmla="*/ 2 w 902"/>
                <a:gd name="T11" fmla="*/ 6 h 902"/>
                <a:gd name="T12" fmla="*/ 0 w 902"/>
                <a:gd name="T13" fmla="*/ 12 h 902"/>
                <a:gd name="T14" fmla="*/ 0 w 902"/>
                <a:gd name="T15" fmla="*/ 586 h 902"/>
                <a:gd name="T16" fmla="*/ 1 w 902"/>
                <a:gd name="T17" fmla="*/ 592 h 902"/>
                <a:gd name="T18" fmla="*/ 4 w 902"/>
                <a:gd name="T19" fmla="*/ 597 h 902"/>
                <a:gd name="T20" fmla="*/ 9 w 902"/>
                <a:gd name="T21" fmla="*/ 600 h 902"/>
                <a:gd name="T22" fmla="*/ 15 w 902"/>
                <a:gd name="T23" fmla="*/ 601 h 902"/>
                <a:gd name="T24" fmla="*/ 436 w 902"/>
                <a:gd name="T25" fmla="*/ 701 h 902"/>
                <a:gd name="T26" fmla="*/ 258 w 902"/>
                <a:gd name="T27" fmla="*/ 878 h 902"/>
                <a:gd name="T28" fmla="*/ 255 w 902"/>
                <a:gd name="T29" fmla="*/ 884 h 902"/>
                <a:gd name="T30" fmla="*/ 255 w 902"/>
                <a:gd name="T31" fmla="*/ 890 h 902"/>
                <a:gd name="T32" fmla="*/ 258 w 902"/>
                <a:gd name="T33" fmla="*/ 896 h 902"/>
                <a:gd name="T34" fmla="*/ 262 w 902"/>
                <a:gd name="T35" fmla="*/ 900 h 902"/>
                <a:gd name="T36" fmla="*/ 268 w 902"/>
                <a:gd name="T37" fmla="*/ 902 h 902"/>
                <a:gd name="T38" fmla="*/ 273 w 902"/>
                <a:gd name="T39" fmla="*/ 902 h 902"/>
                <a:gd name="T40" fmla="*/ 279 w 902"/>
                <a:gd name="T41" fmla="*/ 900 h 902"/>
                <a:gd name="T42" fmla="*/ 451 w 902"/>
                <a:gd name="T43" fmla="*/ 727 h 902"/>
                <a:gd name="T44" fmla="*/ 622 w 902"/>
                <a:gd name="T45" fmla="*/ 900 h 902"/>
                <a:gd name="T46" fmla="*/ 628 w 902"/>
                <a:gd name="T47" fmla="*/ 902 h 902"/>
                <a:gd name="T48" fmla="*/ 634 w 902"/>
                <a:gd name="T49" fmla="*/ 902 h 902"/>
                <a:gd name="T50" fmla="*/ 640 w 902"/>
                <a:gd name="T51" fmla="*/ 900 h 902"/>
                <a:gd name="T52" fmla="*/ 644 w 902"/>
                <a:gd name="T53" fmla="*/ 896 h 902"/>
                <a:gd name="T54" fmla="*/ 646 w 902"/>
                <a:gd name="T55" fmla="*/ 890 h 902"/>
                <a:gd name="T56" fmla="*/ 646 w 902"/>
                <a:gd name="T57" fmla="*/ 884 h 902"/>
                <a:gd name="T58" fmla="*/ 644 w 902"/>
                <a:gd name="T59" fmla="*/ 878 h 902"/>
                <a:gd name="T60" fmla="*/ 466 w 902"/>
                <a:gd name="T61" fmla="*/ 701 h 902"/>
                <a:gd name="T62" fmla="*/ 887 w 902"/>
                <a:gd name="T63" fmla="*/ 601 h 902"/>
                <a:gd name="T64" fmla="*/ 892 w 902"/>
                <a:gd name="T65" fmla="*/ 600 h 902"/>
                <a:gd name="T66" fmla="*/ 898 w 902"/>
                <a:gd name="T67" fmla="*/ 597 h 902"/>
                <a:gd name="T68" fmla="*/ 901 w 902"/>
                <a:gd name="T69" fmla="*/ 592 h 902"/>
                <a:gd name="T70" fmla="*/ 902 w 902"/>
                <a:gd name="T71" fmla="*/ 586 h 902"/>
                <a:gd name="T72" fmla="*/ 901 w 902"/>
                <a:gd name="T73" fmla="*/ 12 h 902"/>
                <a:gd name="T74" fmla="*/ 899 w 902"/>
                <a:gd name="T75" fmla="*/ 6 h 902"/>
                <a:gd name="T76" fmla="*/ 896 w 902"/>
                <a:gd name="T77" fmla="*/ 2 h 902"/>
                <a:gd name="T78" fmla="*/ 890 w 902"/>
                <a:gd name="T79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902" h="902">
                  <a:moveTo>
                    <a:pt x="872" y="571"/>
                  </a:moveTo>
                  <a:lnTo>
                    <a:pt x="30" y="571"/>
                  </a:lnTo>
                  <a:lnTo>
                    <a:pt x="30" y="30"/>
                  </a:lnTo>
                  <a:lnTo>
                    <a:pt x="872" y="30"/>
                  </a:lnTo>
                  <a:lnTo>
                    <a:pt x="872" y="571"/>
                  </a:lnTo>
                  <a:close/>
                  <a:moveTo>
                    <a:pt x="887" y="0"/>
                  </a:moveTo>
                  <a:lnTo>
                    <a:pt x="15" y="0"/>
                  </a:lnTo>
                  <a:lnTo>
                    <a:pt x="12" y="0"/>
                  </a:lnTo>
                  <a:lnTo>
                    <a:pt x="9" y="1"/>
                  </a:lnTo>
                  <a:lnTo>
                    <a:pt x="6" y="2"/>
                  </a:lnTo>
                  <a:lnTo>
                    <a:pt x="4" y="4"/>
                  </a:lnTo>
                  <a:lnTo>
                    <a:pt x="2" y="6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586"/>
                  </a:lnTo>
                  <a:lnTo>
                    <a:pt x="0" y="589"/>
                  </a:lnTo>
                  <a:lnTo>
                    <a:pt x="1" y="592"/>
                  </a:lnTo>
                  <a:lnTo>
                    <a:pt x="2" y="595"/>
                  </a:lnTo>
                  <a:lnTo>
                    <a:pt x="4" y="597"/>
                  </a:lnTo>
                  <a:lnTo>
                    <a:pt x="6" y="599"/>
                  </a:lnTo>
                  <a:lnTo>
                    <a:pt x="9" y="600"/>
                  </a:lnTo>
                  <a:lnTo>
                    <a:pt x="12" y="601"/>
                  </a:lnTo>
                  <a:lnTo>
                    <a:pt x="15" y="601"/>
                  </a:lnTo>
                  <a:lnTo>
                    <a:pt x="436" y="601"/>
                  </a:lnTo>
                  <a:lnTo>
                    <a:pt x="436" y="701"/>
                  </a:lnTo>
                  <a:lnTo>
                    <a:pt x="259" y="876"/>
                  </a:lnTo>
                  <a:lnTo>
                    <a:pt x="258" y="878"/>
                  </a:lnTo>
                  <a:lnTo>
                    <a:pt x="256" y="882"/>
                  </a:lnTo>
                  <a:lnTo>
                    <a:pt x="255" y="884"/>
                  </a:lnTo>
                  <a:lnTo>
                    <a:pt x="255" y="887"/>
                  </a:lnTo>
                  <a:lnTo>
                    <a:pt x="255" y="890"/>
                  </a:lnTo>
                  <a:lnTo>
                    <a:pt x="256" y="892"/>
                  </a:lnTo>
                  <a:lnTo>
                    <a:pt x="258" y="896"/>
                  </a:lnTo>
                  <a:lnTo>
                    <a:pt x="259" y="898"/>
                  </a:lnTo>
                  <a:lnTo>
                    <a:pt x="262" y="900"/>
                  </a:lnTo>
                  <a:lnTo>
                    <a:pt x="265" y="901"/>
                  </a:lnTo>
                  <a:lnTo>
                    <a:pt x="268" y="902"/>
                  </a:lnTo>
                  <a:lnTo>
                    <a:pt x="270" y="902"/>
                  </a:lnTo>
                  <a:lnTo>
                    <a:pt x="273" y="902"/>
                  </a:lnTo>
                  <a:lnTo>
                    <a:pt x="276" y="901"/>
                  </a:lnTo>
                  <a:lnTo>
                    <a:pt x="279" y="900"/>
                  </a:lnTo>
                  <a:lnTo>
                    <a:pt x="281" y="898"/>
                  </a:lnTo>
                  <a:lnTo>
                    <a:pt x="451" y="727"/>
                  </a:lnTo>
                  <a:lnTo>
                    <a:pt x="620" y="898"/>
                  </a:lnTo>
                  <a:lnTo>
                    <a:pt x="622" y="900"/>
                  </a:lnTo>
                  <a:lnTo>
                    <a:pt x="626" y="901"/>
                  </a:lnTo>
                  <a:lnTo>
                    <a:pt x="628" y="902"/>
                  </a:lnTo>
                  <a:lnTo>
                    <a:pt x="631" y="902"/>
                  </a:lnTo>
                  <a:lnTo>
                    <a:pt x="634" y="902"/>
                  </a:lnTo>
                  <a:lnTo>
                    <a:pt x="636" y="901"/>
                  </a:lnTo>
                  <a:lnTo>
                    <a:pt x="640" y="900"/>
                  </a:lnTo>
                  <a:lnTo>
                    <a:pt x="642" y="898"/>
                  </a:lnTo>
                  <a:lnTo>
                    <a:pt x="644" y="896"/>
                  </a:lnTo>
                  <a:lnTo>
                    <a:pt x="645" y="892"/>
                  </a:lnTo>
                  <a:lnTo>
                    <a:pt x="646" y="890"/>
                  </a:lnTo>
                  <a:lnTo>
                    <a:pt x="646" y="887"/>
                  </a:lnTo>
                  <a:lnTo>
                    <a:pt x="646" y="884"/>
                  </a:lnTo>
                  <a:lnTo>
                    <a:pt x="645" y="882"/>
                  </a:lnTo>
                  <a:lnTo>
                    <a:pt x="644" y="878"/>
                  </a:lnTo>
                  <a:lnTo>
                    <a:pt x="642" y="876"/>
                  </a:lnTo>
                  <a:lnTo>
                    <a:pt x="466" y="701"/>
                  </a:lnTo>
                  <a:lnTo>
                    <a:pt x="466" y="601"/>
                  </a:lnTo>
                  <a:lnTo>
                    <a:pt x="887" y="601"/>
                  </a:lnTo>
                  <a:lnTo>
                    <a:pt x="890" y="601"/>
                  </a:lnTo>
                  <a:lnTo>
                    <a:pt x="892" y="600"/>
                  </a:lnTo>
                  <a:lnTo>
                    <a:pt x="896" y="599"/>
                  </a:lnTo>
                  <a:lnTo>
                    <a:pt x="898" y="597"/>
                  </a:lnTo>
                  <a:lnTo>
                    <a:pt x="899" y="595"/>
                  </a:lnTo>
                  <a:lnTo>
                    <a:pt x="901" y="592"/>
                  </a:lnTo>
                  <a:lnTo>
                    <a:pt x="901" y="589"/>
                  </a:lnTo>
                  <a:lnTo>
                    <a:pt x="902" y="586"/>
                  </a:lnTo>
                  <a:lnTo>
                    <a:pt x="902" y="15"/>
                  </a:lnTo>
                  <a:lnTo>
                    <a:pt x="901" y="12"/>
                  </a:lnTo>
                  <a:lnTo>
                    <a:pt x="901" y="9"/>
                  </a:lnTo>
                  <a:lnTo>
                    <a:pt x="899" y="6"/>
                  </a:lnTo>
                  <a:lnTo>
                    <a:pt x="898" y="4"/>
                  </a:lnTo>
                  <a:lnTo>
                    <a:pt x="896" y="2"/>
                  </a:lnTo>
                  <a:lnTo>
                    <a:pt x="892" y="1"/>
                  </a:lnTo>
                  <a:lnTo>
                    <a:pt x="890" y="0"/>
                  </a:lnTo>
                  <a:lnTo>
                    <a:pt x="88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" name="Freeform 109">
              <a:extLst>
                <a:ext uri="{FF2B5EF4-FFF2-40B4-BE49-F238E27FC236}">
                  <a16:creationId xmlns:a16="http://schemas.microsoft.com/office/drawing/2014/main" id="{895AB168-59B6-4BC7-A617-160001933A3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193088" y="4819650"/>
              <a:ext cx="228600" cy="133350"/>
            </a:xfrm>
            <a:custGeom>
              <a:avLst/>
              <a:gdLst>
                <a:gd name="T0" fmla="*/ 691 w 722"/>
                <a:gd name="T1" fmla="*/ 391 h 421"/>
                <a:gd name="T2" fmla="*/ 30 w 722"/>
                <a:gd name="T3" fmla="*/ 241 h 421"/>
                <a:gd name="T4" fmla="*/ 153 w 722"/>
                <a:gd name="T5" fmla="*/ 240 h 421"/>
                <a:gd name="T6" fmla="*/ 159 w 722"/>
                <a:gd name="T7" fmla="*/ 238 h 421"/>
                <a:gd name="T8" fmla="*/ 229 w 722"/>
                <a:gd name="T9" fmla="*/ 165 h 421"/>
                <a:gd name="T10" fmla="*/ 288 w 722"/>
                <a:gd name="T11" fmla="*/ 310 h 421"/>
                <a:gd name="T12" fmla="*/ 294 w 722"/>
                <a:gd name="T13" fmla="*/ 314 h 421"/>
                <a:gd name="T14" fmla="*/ 299 w 722"/>
                <a:gd name="T15" fmla="*/ 316 h 421"/>
                <a:gd name="T16" fmla="*/ 303 w 722"/>
                <a:gd name="T17" fmla="*/ 316 h 421"/>
                <a:gd name="T18" fmla="*/ 309 w 722"/>
                <a:gd name="T19" fmla="*/ 313 h 421"/>
                <a:gd name="T20" fmla="*/ 406 w 722"/>
                <a:gd name="T21" fmla="*/ 216 h 421"/>
                <a:gd name="T22" fmla="*/ 472 w 722"/>
                <a:gd name="T23" fmla="*/ 283 h 421"/>
                <a:gd name="T24" fmla="*/ 479 w 722"/>
                <a:gd name="T25" fmla="*/ 286 h 421"/>
                <a:gd name="T26" fmla="*/ 485 w 722"/>
                <a:gd name="T27" fmla="*/ 285 h 421"/>
                <a:gd name="T28" fmla="*/ 491 w 722"/>
                <a:gd name="T29" fmla="*/ 283 h 421"/>
                <a:gd name="T30" fmla="*/ 628 w 722"/>
                <a:gd name="T31" fmla="*/ 115 h 421"/>
                <a:gd name="T32" fmla="*/ 631 w 722"/>
                <a:gd name="T33" fmla="*/ 109 h 421"/>
                <a:gd name="T34" fmla="*/ 631 w 722"/>
                <a:gd name="T35" fmla="*/ 104 h 421"/>
                <a:gd name="T36" fmla="*/ 630 w 722"/>
                <a:gd name="T37" fmla="*/ 99 h 421"/>
                <a:gd name="T38" fmla="*/ 626 w 722"/>
                <a:gd name="T39" fmla="*/ 93 h 421"/>
                <a:gd name="T40" fmla="*/ 620 w 722"/>
                <a:gd name="T41" fmla="*/ 91 h 421"/>
                <a:gd name="T42" fmla="*/ 615 w 722"/>
                <a:gd name="T43" fmla="*/ 90 h 421"/>
                <a:gd name="T44" fmla="*/ 610 w 722"/>
                <a:gd name="T45" fmla="*/ 92 h 421"/>
                <a:gd name="T46" fmla="*/ 604 w 722"/>
                <a:gd name="T47" fmla="*/ 95 h 421"/>
                <a:gd name="T48" fmla="*/ 417 w 722"/>
                <a:gd name="T49" fmla="*/ 185 h 421"/>
                <a:gd name="T50" fmla="*/ 411 w 722"/>
                <a:gd name="T51" fmla="*/ 181 h 421"/>
                <a:gd name="T52" fmla="*/ 406 w 722"/>
                <a:gd name="T53" fmla="*/ 180 h 421"/>
                <a:gd name="T54" fmla="*/ 400 w 722"/>
                <a:gd name="T55" fmla="*/ 181 h 421"/>
                <a:gd name="T56" fmla="*/ 395 w 722"/>
                <a:gd name="T57" fmla="*/ 185 h 421"/>
                <a:gd name="T58" fmla="*/ 249 w 722"/>
                <a:gd name="T59" fmla="*/ 132 h 421"/>
                <a:gd name="T60" fmla="*/ 243 w 722"/>
                <a:gd name="T61" fmla="*/ 126 h 421"/>
                <a:gd name="T62" fmla="*/ 237 w 722"/>
                <a:gd name="T63" fmla="*/ 123 h 421"/>
                <a:gd name="T64" fmla="*/ 229 w 722"/>
                <a:gd name="T65" fmla="*/ 123 h 421"/>
                <a:gd name="T66" fmla="*/ 223 w 722"/>
                <a:gd name="T67" fmla="*/ 128 h 421"/>
                <a:gd name="T68" fmla="*/ 30 w 722"/>
                <a:gd name="T69" fmla="*/ 211 h 421"/>
                <a:gd name="T70" fmla="*/ 691 w 722"/>
                <a:gd name="T71" fmla="*/ 30 h 421"/>
                <a:gd name="T72" fmla="*/ 707 w 722"/>
                <a:gd name="T73" fmla="*/ 421 h 421"/>
                <a:gd name="T74" fmla="*/ 712 w 722"/>
                <a:gd name="T75" fmla="*/ 420 h 421"/>
                <a:gd name="T76" fmla="*/ 717 w 722"/>
                <a:gd name="T77" fmla="*/ 417 h 421"/>
                <a:gd name="T78" fmla="*/ 720 w 722"/>
                <a:gd name="T79" fmla="*/ 411 h 421"/>
                <a:gd name="T80" fmla="*/ 722 w 722"/>
                <a:gd name="T81" fmla="*/ 406 h 421"/>
                <a:gd name="T82" fmla="*/ 721 w 722"/>
                <a:gd name="T83" fmla="*/ 12 h 421"/>
                <a:gd name="T84" fmla="*/ 719 w 722"/>
                <a:gd name="T85" fmla="*/ 6 h 421"/>
                <a:gd name="T86" fmla="*/ 715 w 722"/>
                <a:gd name="T87" fmla="*/ 2 h 421"/>
                <a:gd name="T88" fmla="*/ 709 w 722"/>
                <a:gd name="T89" fmla="*/ 0 h 421"/>
                <a:gd name="T90" fmla="*/ 15 w 722"/>
                <a:gd name="T91" fmla="*/ 0 h 421"/>
                <a:gd name="T92" fmla="*/ 9 w 722"/>
                <a:gd name="T93" fmla="*/ 1 h 421"/>
                <a:gd name="T94" fmla="*/ 4 w 722"/>
                <a:gd name="T95" fmla="*/ 4 h 421"/>
                <a:gd name="T96" fmla="*/ 1 w 722"/>
                <a:gd name="T97" fmla="*/ 10 h 421"/>
                <a:gd name="T98" fmla="*/ 0 w 722"/>
                <a:gd name="T99" fmla="*/ 15 h 421"/>
                <a:gd name="T100" fmla="*/ 0 w 722"/>
                <a:gd name="T101" fmla="*/ 409 h 421"/>
                <a:gd name="T102" fmla="*/ 2 w 722"/>
                <a:gd name="T103" fmla="*/ 415 h 421"/>
                <a:gd name="T104" fmla="*/ 6 w 722"/>
                <a:gd name="T105" fmla="*/ 419 h 421"/>
                <a:gd name="T106" fmla="*/ 12 w 722"/>
                <a:gd name="T107" fmla="*/ 421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722" h="421">
                  <a:moveTo>
                    <a:pt x="691" y="30"/>
                  </a:moveTo>
                  <a:lnTo>
                    <a:pt x="691" y="391"/>
                  </a:lnTo>
                  <a:lnTo>
                    <a:pt x="30" y="391"/>
                  </a:lnTo>
                  <a:lnTo>
                    <a:pt x="30" y="241"/>
                  </a:lnTo>
                  <a:lnTo>
                    <a:pt x="150" y="241"/>
                  </a:lnTo>
                  <a:lnTo>
                    <a:pt x="153" y="240"/>
                  </a:lnTo>
                  <a:lnTo>
                    <a:pt x="156" y="239"/>
                  </a:lnTo>
                  <a:lnTo>
                    <a:pt x="159" y="238"/>
                  </a:lnTo>
                  <a:lnTo>
                    <a:pt x="161" y="236"/>
                  </a:lnTo>
                  <a:lnTo>
                    <a:pt x="229" y="165"/>
                  </a:lnTo>
                  <a:lnTo>
                    <a:pt x="287" y="306"/>
                  </a:lnTo>
                  <a:lnTo>
                    <a:pt x="288" y="310"/>
                  </a:lnTo>
                  <a:lnTo>
                    <a:pt x="291" y="313"/>
                  </a:lnTo>
                  <a:lnTo>
                    <a:pt x="294" y="314"/>
                  </a:lnTo>
                  <a:lnTo>
                    <a:pt x="298" y="316"/>
                  </a:lnTo>
                  <a:lnTo>
                    <a:pt x="299" y="316"/>
                  </a:lnTo>
                  <a:lnTo>
                    <a:pt x="301" y="316"/>
                  </a:lnTo>
                  <a:lnTo>
                    <a:pt x="303" y="316"/>
                  </a:lnTo>
                  <a:lnTo>
                    <a:pt x="306" y="315"/>
                  </a:lnTo>
                  <a:lnTo>
                    <a:pt x="309" y="313"/>
                  </a:lnTo>
                  <a:lnTo>
                    <a:pt x="312" y="312"/>
                  </a:lnTo>
                  <a:lnTo>
                    <a:pt x="406" y="216"/>
                  </a:lnTo>
                  <a:lnTo>
                    <a:pt x="470" y="282"/>
                  </a:lnTo>
                  <a:lnTo>
                    <a:pt x="472" y="283"/>
                  </a:lnTo>
                  <a:lnTo>
                    <a:pt x="476" y="285"/>
                  </a:lnTo>
                  <a:lnTo>
                    <a:pt x="479" y="286"/>
                  </a:lnTo>
                  <a:lnTo>
                    <a:pt x="482" y="286"/>
                  </a:lnTo>
                  <a:lnTo>
                    <a:pt x="485" y="285"/>
                  </a:lnTo>
                  <a:lnTo>
                    <a:pt x="487" y="284"/>
                  </a:lnTo>
                  <a:lnTo>
                    <a:pt x="491" y="283"/>
                  </a:lnTo>
                  <a:lnTo>
                    <a:pt x="493" y="281"/>
                  </a:lnTo>
                  <a:lnTo>
                    <a:pt x="628" y="115"/>
                  </a:lnTo>
                  <a:lnTo>
                    <a:pt x="630" y="113"/>
                  </a:lnTo>
                  <a:lnTo>
                    <a:pt x="631" y="109"/>
                  </a:lnTo>
                  <a:lnTo>
                    <a:pt x="631" y="106"/>
                  </a:lnTo>
                  <a:lnTo>
                    <a:pt x="631" y="104"/>
                  </a:lnTo>
                  <a:lnTo>
                    <a:pt x="631" y="101"/>
                  </a:lnTo>
                  <a:lnTo>
                    <a:pt x="630" y="99"/>
                  </a:lnTo>
                  <a:lnTo>
                    <a:pt x="628" y="95"/>
                  </a:lnTo>
                  <a:lnTo>
                    <a:pt x="626" y="93"/>
                  </a:lnTo>
                  <a:lnTo>
                    <a:pt x="623" y="92"/>
                  </a:lnTo>
                  <a:lnTo>
                    <a:pt x="620" y="91"/>
                  </a:lnTo>
                  <a:lnTo>
                    <a:pt x="618" y="90"/>
                  </a:lnTo>
                  <a:lnTo>
                    <a:pt x="615" y="90"/>
                  </a:lnTo>
                  <a:lnTo>
                    <a:pt x="612" y="91"/>
                  </a:lnTo>
                  <a:lnTo>
                    <a:pt x="610" y="92"/>
                  </a:lnTo>
                  <a:lnTo>
                    <a:pt x="606" y="93"/>
                  </a:lnTo>
                  <a:lnTo>
                    <a:pt x="604" y="95"/>
                  </a:lnTo>
                  <a:lnTo>
                    <a:pt x="480" y="249"/>
                  </a:lnTo>
                  <a:lnTo>
                    <a:pt x="417" y="185"/>
                  </a:lnTo>
                  <a:lnTo>
                    <a:pt x="415" y="183"/>
                  </a:lnTo>
                  <a:lnTo>
                    <a:pt x="411" y="181"/>
                  </a:lnTo>
                  <a:lnTo>
                    <a:pt x="409" y="181"/>
                  </a:lnTo>
                  <a:lnTo>
                    <a:pt x="406" y="180"/>
                  </a:lnTo>
                  <a:lnTo>
                    <a:pt x="403" y="181"/>
                  </a:lnTo>
                  <a:lnTo>
                    <a:pt x="400" y="181"/>
                  </a:lnTo>
                  <a:lnTo>
                    <a:pt x="397" y="183"/>
                  </a:lnTo>
                  <a:lnTo>
                    <a:pt x="395" y="185"/>
                  </a:lnTo>
                  <a:lnTo>
                    <a:pt x="306" y="274"/>
                  </a:lnTo>
                  <a:lnTo>
                    <a:pt x="249" y="132"/>
                  </a:lnTo>
                  <a:lnTo>
                    <a:pt x="246" y="129"/>
                  </a:lnTo>
                  <a:lnTo>
                    <a:pt x="243" y="126"/>
                  </a:lnTo>
                  <a:lnTo>
                    <a:pt x="241" y="124"/>
                  </a:lnTo>
                  <a:lnTo>
                    <a:pt x="237" y="123"/>
                  </a:lnTo>
                  <a:lnTo>
                    <a:pt x="234" y="123"/>
                  </a:lnTo>
                  <a:lnTo>
                    <a:pt x="229" y="123"/>
                  </a:lnTo>
                  <a:lnTo>
                    <a:pt x="226" y="125"/>
                  </a:lnTo>
                  <a:lnTo>
                    <a:pt x="223" y="128"/>
                  </a:lnTo>
                  <a:lnTo>
                    <a:pt x="144" y="211"/>
                  </a:lnTo>
                  <a:lnTo>
                    <a:pt x="30" y="211"/>
                  </a:lnTo>
                  <a:lnTo>
                    <a:pt x="30" y="30"/>
                  </a:lnTo>
                  <a:lnTo>
                    <a:pt x="691" y="30"/>
                  </a:lnTo>
                  <a:close/>
                  <a:moveTo>
                    <a:pt x="15" y="421"/>
                  </a:moveTo>
                  <a:lnTo>
                    <a:pt x="707" y="421"/>
                  </a:lnTo>
                  <a:lnTo>
                    <a:pt x="709" y="421"/>
                  </a:lnTo>
                  <a:lnTo>
                    <a:pt x="712" y="420"/>
                  </a:lnTo>
                  <a:lnTo>
                    <a:pt x="715" y="419"/>
                  </a:lnTo>
                  <a:lnTo>
                    <a:pt x="717" y="417"/>
                  </a:lnTo>
                  <a:lnTo>
                    <a:pt x="719" y="415"/>
                  </a:lnTo>
                  <a:lnTo>
                    <a:pt x="720" y="411"/>
                  </a:lnTo>
                  <a:lnTo>
                    <a:pt x="721" y="409"/>
                  </a:lnTo>
                  <a:lnTo>
                    <a:pt x="722" y="406"/>
                  </a:lnTo>
                  <a:lnTo>
                    <a:pt x="722" y="15"/>
                  </a:lnTo>
                  <a:lnTo>
                    <a:pt x="721" y="12"/>
                  </a:lnTo>
                  <a:lnTo>
                    <a:pt x="720" y="10"/>
                  </a:lnTo>
                  <a:lnTo>
                    <a:pt x="719" y="6"/>
                  </a:lnTo>
                  <a:lnTo>
                    <a:pt x="717" y="4"/>
                  </a:lnTo>
                  <a:lnTo>
                    <a:pt x="715" y="2"/>
                  </a:lnTo>
                  <a:lnTo>
                    <a:pt x="712" y="1"/>
                  </a:lnTo>
                  <a:lnTo>
                    <a:pt x="709" y="0"/>
                  </a:lnTo>
                  <a:lnTo>
                    <a:pt x="707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9" y="1"/>
                  </a:lnTo>
                  <a:lnTo>
                    <a:pt x="6" y="2"/>
                  </a:lnTo>
                  <a:lnTo>
                    <a:pt x="4" y="4"/>
                  </a:lnTo>
                  <a:lnTo>
                    <a:pt x="2" y="6"/>
                  </a:lnTo>
                  <a:lnTo>
                    <a:pt x="1" y="10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406"/>
                  </a:lnTo>
                  <a:lnTo>
                    <a:pt x="0" y="409"/>
                  </a:lnTo>
                  <a:lnTo>
                    <a:pt x="1" y="411"/>
                  </a:lnTo>
                  <a:lnTo>
                    <a:pt x="2" y="415"/>
                  </a:lnTo>
                  <a:lnTo>
                    <a:pt x="4" y="417"/>
                  </a:lnTo>
                  <a:lnTo>
                    <a:pt x="6" y="419"/>
                  </a:lnTo>
                  <a:lnTo>
                    <a:pt x="9" y="420"/>
                  </a:lnTo>
                  <a:lnTo>
                    <a:pt x="12" y="421"/>
                  </a:lnTo>
                  <a:lnTo>
                    <a:pt x="15" y="4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20" name="Group 119">
            <a:extLst>
              <a:ext uri="{FF2B5EF4-FFF2-40B4-BE49-F238E27FC236}">
                <a16:creationId xmlns:a16="http://schemas.microsoft.com/office/drawing/2014/main" id="{831A7767-4C71-4C7F-84A0-DAD5B9D3BAAD}"/>
              </a:ext>
            </a:extLst>
          </p:cNvPr>
          <p:cNvGrpSpPr/>
          <p:nvPr/>
        </p:nvGrpSpPr>
        <p:grpSpPr>
          <a:xfrm>
            <a:off x="4374725" y="4846466"/>
            <a:ext cx="757248" cy="681526"/>
            <a:chOff x="11601450" y="3100388"/>
            <a:chExt cx="285750" cy="257175"/>
          </a:xfrm>
          <a:solidFill>
            <a:schemeClr val="bg1"/>
          </a:solidFill>
          <a:scene3d>
            <a:camera prst="isometricTopUp"/>
            <a:lightRig rig="threePt" dir="t"/>
          </a:scene3d>
        </p:grpSpPr>
        <p:sp>
          <p:nvSpPr>
            <p:cNvPr id="121" name="Freeform 252">
              <a:extLst>
                <a:ext uri="{FF2B5EF4-FFF2-40B4-BE49-F238E27FC236}">
                  <a16:creationId xmlns:a16="http://schemas.microsoft.com/office/drawing/2014/main" id="{F5AA7631-9CDD-4238-A325-2EF5ED10C6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601450" y="3100388"/>
              <a:ext cx="285750" cy="257175"/>
            </a:xfrm>
            <a:custGeom>
              <a:avLst/>
              <a:gdLst>
                <a:gd name="T0" fmla="*/ 872 w 902"/>
                <a:gd name="T1" fmla="*/ 710 h 812"/>
                <a:gd name="T2" fmla="*/ 870 w 902"/>
                <a:gd name="T3" fmla="*/ 716 h 812"/>
                <a:gd name="T4" fmla="*/ 866 w 902"/>
                <a:gd name="T5" fmla="*/ 720 h 812"/>
                <a:gd name="T6" fmla="*/ 860 w 902"/>
                <a:gd name="T7" fmla="*/ 722 h 812"/>
                <a:gd name="T8" fmla="*/ 45 w 902"/>
                <a:gd name="T9" fmla="*/ 722 h 812"/>
                <a:gd name="T10" fmla="*/ 40 w 902"/>
                <a:gd name="T11" fmla="*/ 721 h 812"/>
                <a:gd name="T12" fmla="*/ 34 w 902"/>
                <a:gd name="T13" fmla="*/ 718 h 812"/>
                <a:gd name="T14" fmla="*/ 31 w 902"/>
                <a:gd name="T15" fmla="*/ 714 h 812"/>
                <a:gd name="T16" fmla="*/ 30 w 902"/>
                <a:gd name="T17" fmla="*/ 707 h 812"/>
                <a:gd name="T18" fmla="*/ 30 w 902"/>
                <a:gd name="T19" fmla="*/ 43 h 812"/>
                <a:gd name="T20" fmla="*/ 32 w 902"/>
                <a:gd name="T21" fmla="*/ 38 h 812"/>
                <a:gd name="T22" fmla="*/ 36 w 902"/>
                <a:gd name="T23" fmla="*/ 33 h 812"/>
                <a:gd name="T24" fmla="*/ 42 w 902"/>
                <a:gd name="T25" fmla="*/ 31 h 812"/>
                <a:gd name="T26" fmla="*/ 857 w 902"/>
                <a:gd name="T27" fmla="*/ 30 h 812"/>
                <a:gd name="T28" fmla="*/ 862 w 902"/>
                <a:gd name="T29" fmla="*/ 32 h 812"/>
                <a:gd name="T30" fmla="*/ 868 w 902"/>
                <a:gd name="T31" fmla="*/ 36 h 812"/>
                <a:gd name="T32" fmla="*/ 871 w 902"/>
                <a:gd name="T33" fmla="*/ 40 h 812"/>
                <a:gd name="T34" fmla="*/ 872 w 902"/>
                <a:gd name="T35" fmla="*/ 46 h 812"/>
                <a:gd name="T36" fmla="*/ 782 w 902"/>
                <a:gd name="T37" fmla="*/ 782 h 812"/>
                <a:gd name="T38" fmla="*/ 722 w 902"/>
                <a:gd name="T39" fmla="*/ 752 h 812"/>
                <a:gd name="T40" fmla="*/ 782 w 902"/>
                <a:gd name="T41" fmla="*/ 782 h 812"/>
                <a:gd name="T42" fmla="*/ 120 w 902"/>
                <a:gd name="T43" fmla="*/ 782 h 812"/>
                <a:gd name="T44" fmla="*/ 180 w 902"/>
                <a:gd name="T45" fmla="*/ 752 h 812"/>
                <a:gd name="T46" fmla="*/ 857 w 902"/>
                <a:gd name="T47" fmla="*/ 0 h 812"/>
                <a:gd name="T48" fmla="*/ 36 w 902"/>
                <a:gd name="T49" fmla="*/ 1 h 812"/>
                <a:gd name="T50" fmla="*/ 19 w 902"/>
                <a:gd name="T51" fmla="*/ 9 h 812"/>
                <a:gd name="T52" fmla="*/ 8 w 902"/>
                <a:gd name="T53" fmla="*/ 21 h 812"/>
                <a:gd name="T54" fmla="*/ 1 w 902"/>
                <a:gd name="T55" fmla="*/ 37 h 812"/>
                <a:gd name="T56" fmla="*/ 0 w 902"/>
                <a:gd name="T57" fmla="*/ 707 h 812"/>
                <a:gd name="T58" fmla="*/ 3 w 902"/>
                <a:gd name="T59" fmla="*/ 724 h 812"/>
                <a:gd name="T60" fmla="*/ 13 w 902"/>
                <a:gd name="T61" fmla="*/ 739 h 812"/>
                <a:gd name="T62" fmla="*/ 28 w 902"/>
                <a:gd name="T63" fmla="*/ 749 h 812"/>
                <a:gd name="T64" fmla="*/ 45 w 902"/>
                <a:gd name="T65" fmla="*/ 752 h 812"/>
                <a:gd name="T66" fmla="*/ 90 w 902"/>
                <a:gd name="T67" fmla="*/ 797 h 812"/>
                <a:gd name="T68" fmla="*/ 91 w 902"/>
                <a:gd name="T69" fmla="*/ 804 h 812"/>
                <a:gd name="T70" fmla="*/ 94 w 902"/>
                <a:gd name="T71" fmla="*/ 808 h 812"/>
                <a:gd name="T72" fmla="*/ 100 w 902"/>
                <a:gd name="T73" fmla="*/ 811 h 812"/>
                <a:gd name="T74" fmla="*/ 105 w 902"/>
                <a:gd name="T75" fmla="*/ 812 h 812"/>
                <a:gd name="T76" fmla="*/ 198 w 902"/>
                <a:gd name="T77" fmla="*/ 812 h 812"/>
                <a:gd name="T78" fmla="*/ 204 w 902"/>
                <a:gd name="T79" fmla="*/ 810 h 812"/>
                <a:gd name="T80" fmla="*/ 208 w 902"/>
                <a:gd name="T81" fmla="*/ 806 h 812"/>
                <a:gd name="T82" fmla="*/ 210 w 902"/>
                <a:gd name="T83" fmla="*/ 800 h 812"/>
                <a:gd name="T84" fmla="*/ 210 w 902"/>
                <a:gd name="T85" fmla="*/ 752 h 812"/>
                <a:gd name="T86" fmla="*/ 692 w 902"/>
                <a:gd name="T87" fmla="*/ 797 h 812"/>
                <a:gd name="T88" fmla="*/ 693 w 902"/>
                <a:gd name="T89" fmla="*/ 804 h 812"/>
                <a:gd name="T90" fmla="*/ 696 w 902"/>
                <a:gd name="T91" fmla="*/ 808 h 812"/>
                <a:gd name="T92" fmla="*/ 701 w 902"/>
                <a:gd name="T93" fmla="*/ 811 h 812"/>
                <a:gd name="T94" fmla="*/ 707 w 902"/>
                <a:gd name="T95" fmla="*/ 812 h 812"/>
                <a:gd name="T96" fmla="*/ 800 w 902"/>
                <a:gd name="T97" fmla="*/ 812 h 812"/>
                <a:gd name="T98" fmla="*/ 806 w 902"/>
                <a:gd name="T99" fmla="*/ 810 h 812"/>
                <a:gd name="T100" fmla="*/ 809 w 902"/>
                <a:gd name="T101" fmla="*/ 806 h 812"/>
                <a:gd name="T102" fmla="*/ 811 w 902"/>
                <a:gd name="T103" fmla="*/ 800 h 812"/>
                <a:gd name="T104" fmla="*/ 812 w 902"/>
                <a:gd name="T105" fmla="*/ 752 h 812"/>
                <a:gd name="T106" fmla="*/ 866 w 902"/>
                <a:gd name="T107" fmla="*/ 751 h 812"/>
                <a:gd name="T108" fmla="*/ 882 w 902"/>
                <a:gd name="T109" fmla="*/ 745 h 812"/>
                <a:gd name="T110" fmla="*/ 895 w 902"/>
                <a:gd name="T111" fmla="*/ 733 h 812"/>
                <a:gd name="T112" fmla="*/ 901 w 902"/>
                <a:gd name="T113" fmla="*/ 717 h 812"/>
                <a:gd name="T114" fmla="*/ 902 w 902"/>
                <a:gd name="T115" fmla="*/ 46 h 812"/>
                <a:gd name="T116" fmla="*/ 899 w 902"/>
                <a:gd name="T117" fmla="*/ 28 h 812"/>
                <a:gd name="T118" fmla="*/ 889 w 902"/>
                <a:gd name="T119" fmla="*/ 14 h 812"/>
                <a:gd name="T120" fmla="*/ 874 w 902"/>
                <a:gd name="T121" fmla="*/ 5 h 812"/>
                <a:gd name="T122" fmla="*/ 857 w 902"/>
                <a:gd name="T123" fmla="*/ 0 h 8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902" h="812">
                  <a:moveTo>
                    <a:pt x="872" y="707"/>
                  </a:moveTo>
                  <a:lnTo>
                    <a:pt x="872" y="710"/>
                  </a:lnTo>
                  <a:lnTo>
                    <a:pt x="871" y="714"/>
                  </a:lnTo>
                  <a:lnTo>
                    <a:pt x="870" y="716"/>
                  </a:lnTo>
                  <a:lnTo>
                    <a:pt x="868" y="718"/>
                  </a:lnTo>
                  <a:lnTo>
                    <a:pt x="866" y="720"/>
                  </a:lnTo>
                  <a:lnTo>
                    <a:pt x="862" y="721"/>
                  </a:lnTo>
                  <a:lnTo>
                    <a:pt x="860" y="722"/>
                  </a:lnTo>
                  <a:lnTo>
                    <a:pt x="857" y="722"/>
                  </a:lnTo>
                  <a:lnTo>
                    <a:pt x="45" y="722"/>
                  </a:lnTo>
                  <a:lnTo>
                    <a:pt x="42" y="722"/>
                  </a:lnTo>
                  <a:lnTo>
                    <a:pt x="40" y="721"/>
                  </a:lnTo>
                  <a:lnTo>
                    <a:pt x="36" y="720"/>
                  </a:lnTo>
                  <a:lnTo>
                    <a:pt x="34" y="718"/>
                  </a:lnTo>
                  <a:lnTo>
                    <a:pt x="32" y="716"/>
                  </a:lnTo>
                  <a:lnTo>
                    <a:pt x="31" y="714"/>
                  </a:lnTo>
                  <a:lnTo>
                    <a:pt x="30" y="710"/>
                  </a:lnTo>
                  <a:lnTo>
                    <a:pt x="30" y="707"/>
                  </a:lnTo>
                  <a:lnTo>
                    <a:pt x="30" y="46"/>
                  </a:lnTo>
                  <a:lnTo>
                    <a:pt x="30" y="43"/>
                  </a:lnTo>
                  <a:lnTo>
                    <a:pt x="31" y="40"/>
                  </a:lnTo>
                  <a:lnTo>
                    <a:pt x="32" y="38"/>
                  </a:lnTo>
                  <a:lnTo>
                    <a:pt x="34" y="36"/>
                  </a:lnTo>
                  <a:lnTo>
                    <a:pt x="36" y="33"/>
                  </a:lnTo>
                  <a:lnTo>
                    <a:pt x="40" y="32"/>
                  </a:lnTo>
                  <a:lnTo>
                    <a:pt x="42" y="31"/>
                  </a:lnTo>
                  <a:lnTo>
                    <a:pt x="45" y="31"/>
                  </a:lnTo>
                  <a:lnTo>
                    <a:pt x="857" y="30"/>
                  </a:lnTo>
                  <a:lnTo>
                    <a:pt x="860" y="31"/>
                  </a:lnTo>
                  <a:lnTo>
                    <a:pt x="862" y="32"/>
                  </a:lnTo>
                  <a:lnTo>
                    <a:pt x="866" y="33"/>
                  </a:lnTo>
                  <a:lnTo>
                    <a:pt x="868" y="36"/>
                  </a:lnTo>
                  <a:lnTo>
                    <a:pt x="870" y="38"/>
                  </a:lnTo>
                  <a:lnTo>
                    <a:pt x="871" y="40"/>
                  </a:lnTo>
                  <a:lnTo>
                    <a:pt x="872" y="43"/>
                  </a:lnTo>
                  <a:lnTo>
                    <a:pt x="872" y="46"/>
                  </a:lnTo>
                  <a:lnTo>
                    <a:pt x="872" y="707"/>
                  </a:lnTo>
                  <a:close/>
                  <a:moveTo>
                    <a:pt x="782" y="782"/>
                  </a:moveTo>
                  <a:lnTo>
                    <a:pt x="722" y="782"/>
                  </a:lnTo>
                  <a:lnTo>
                    <a:pt x="722" y="752"/>
                  </a:lnTo>
                  <a:lnTo>
                    <a:pt x="782" y="752"/>
                  </a:lnTo>
                  <a:lnTo>
                    <a:pt x="782" y="782"/>
                  </a:lnTo>
                  <a:close/>
                  <a:moveTo>
                    <a:pt x="180" y="782"/>
                  </a:moveTo>
                  <a:lnTo>
                    <a:pt x="120" y="782"/>
                  </a:lnTo>
                  <a:lnTo>
                    <a:pt x="120" y="752"/>
                  </a:lnTo>
                  <a:lnTo>
                    <a:pt x="180" y="752"/>
                  </a:lnTo>
                  <a:lnTo>
                    <a:pt x="180" y="782"/>
                  </a:lnTo>
                  <a:close/>
                  <a:moveTo>
                    <a:pt x="857" y="0"/>
                  </a:moveTo>
                  <a:lnTo>
                    <a:pt x="45" y="0"/>
                  </a:lnTo>
                  <a:lnTo>
                    <a:pt x="36" y="1"/>
                  </a:lnTo>
                  <a:lnTo>
                    <a:pt x="28" y="5"/>
                  </a:lnTo>
                  <a:lnTo>
                    <a:pt x="19" y="9"/>
                  </a:lnTo>
                  <a:lnTo>
                    <a:pt x="13" y="14"/>
                  </a:lnTo>
                  <a:lnTo>
                    <a:pt x="8" y="21"/>
                  </a:lnTo>
                  <a:lnTo>
                    <a:pt x="3" y="28"/>
                  </a:lnTo>
                  <a:lnTo>
                    <a:pt x="1" y="37"/>
                  </a:lnTo>
                  <a:lnTo>
                    <a:pt x="0" y="46"/>
                  </a:lnTo>
                  <a:lnTo>
                    <a:pt x="0" y="707"/>
                  </a:lnTo>
                  <a:lnTo>
                    <a:pt x="1" y="716"/>
                  </a:lnTo>
                  <a:lnTo>
                    <a:pt x="3" y="724"/>
                  </a:lnTo>
                  <a:lnTo>
                    <a:pt x="8" y="733"/>
                  </a:lnTo>
                  <a:lnTo>
                    <a:pt x="13" y="739"/>
                  </a:lnTo>
                  <a:lnTo>
                    <a:pt x="19" y="745"/>
                  </a:lnTo>
                  <a:lnTo>
                    <a:pt x="28" y="749"/>
                  </a:lnTo>
                  <a:lnTo>
                    <a:pt x="36" y="751"/>
                  </a:lnTo>
                  <a:lnTo>
                    <a:pt x="45" y="752"/>
                  </a:lnTo>
                  <a:lnTo>
                    <a:pt x="90" y="752"/>
                  </a:lnTo>
                  <a:lnTo>
                    <a:pt x="90" y="797"/>
                  </a:lnTo>
                  <a:lnTo>
                    <a:pt x="90" y="800"/>
                  </a:lnTo>
                  <a:lnTo>
                    <a:pt x="91" y="804"/>
                  </a:lnTo>
                  <a:lnTo>
                    <a:pt x="93" y="806"/>
                  </a:lnTo>
                  <a:lnTo>
                    <a:pt x="94" y="808"/>
                  </a:lnTo>
                  <a:lnTo>
                    <a:pt x="96" y="810"/>
                  </a:lnTo>
                  <a:lnTo>
                    <a:pt x="100" y="811"/>
                  </a:lnTo>
                  <a:lnTo>
                    <a:pt x="102" y="812"/>
                  </a:lnTo>
                  <a:lnTo>
                    <a:pt x="105" y="812"/>
                  </a:lnTo>
                  <a:lnTo>
                    <a:pt x="195" y="812"/>
                  </a:lnTo>
                  <a:lnTo>
                    <a:pt x="198" y="812"/>
                  </a:lnTo>
                  <a:lnTo>
                    <a:pt x="201" y="811"/>
                  </a:lnTo>
                  <a:lnTo>
                    <a:pt x="204" y="810"/>
                  </a:lnTo>
                  <a:lnTo>
                    <a:pt x="206" y="808"/>
                  </a:lnTo>
                  <a:lnTo>
                    <a:pt x="208" y="806"/>
                  </a:lnTo>
                  <a:lnTo>
                    <a:pt x="209" y="804"/>
                  </a:lnTo>
                  <a:lnTo>
                    <a:pt x="210" y="800"/>
                  </a:lnTo>
                  <a:lnTo>
                    <a:pt x="210" y="797"/>
                  </a:lnTo>
                  <a:lnTo>
                    <a:pt x="210" y="752"/>
                  </a:lnTo>
                  <a:lnTo>
                    <a:pt x="692" y="752"/>
                  </a:lnTo>
                  <a:lnTo>
                    <a:pt x="692" y="797"/>
                  </a:lnTo>
                  <a:lnTo>
                    <a:pt x="692" y="800"/>
                  </a:lnTo>
                  <a:lnTo>
                    <a:pt x="693" y="804"/>
                  </a:lnTo>
                  <a:lnTo>
                    <a:pt x="694" y="806"/>
                  </a:lnTo>
                  <a:lnTo>
                    <a:pt x="696" y="808"/>
                  </a:lnTo>
                  <a:lnTo>
                    <a:pt x="698" y="810"/>
                  </a:lnTo>
                  <a:lnTo>
                    <a:pt x="701" y="811"/>
                  </a:lnTo>
                  <a:lnTo>
                    <a:pt x="704" y="812"/>
                  </a:lnTo>
                  <a:lnTo>
                    <a:pt x="707" y="812"/>
                  </a:lnTo>
                  <a:lnTo>
                    <a:pt x="797" y="812"/>
                  </a:lnTo>
                  <a:lnTo>
                    <a:pt x="800" y="812"/>
                  </a:lnTo>
                  <a:lnTo>
                    <a:pt x="802" y="811"/>
                  </a:lnTo>
                  <a:lnTo>
                    <a:pt x="806" y="810"/>
                  </a:lnTo>
                  <a:lnTo>
                    <a:pt x="808" y="808"/>
                  </a:lnTo>
                  <a:lnTo>
                    <a:pt x="809" y="806"/>
                  </a:lnTo>
                  <a:lnTo>
                    <a:pt x="811" y="804"/>
                  </a:lnTo>
                  <a:lnTo>
                    <a:pt x="811" y="800"/>
                  </a:lnTo>
                  <a:lnTo>
                    <a:pt x="812" y="797"/>
                  </a:lnTo>
                  <a:lnTo>
                    <a:pt x="812" y="752"/>
                  </a:lnTo>
                  <a:lnTo>
                    <a:pt x="857" y="752"/>
                  </a:lnTo>
                  <a:lnTo>
                    <a:pt x="866" y="751"/>
                  </a:lnTo>
                  <a:lnTo>
                    <a:pt x="874" y="749"/>
                  </a:lnTo>
                  <a:lnTo>
                    <a:pt x="882" y="745"/>
                  </a:lnTo>
                  <a:lnTo>
                    <a:pt x="889" y="739"/>
                  </a:lnTo>
                  <a:lnTo>
                    <a:pt x="895" y="733"/>
                  </a:lnTo>
                  <a:lnTo>
                    <a:pt x="899" y="724"/>
                  </a:lnTo>
                  <a:lnTo>
                    <a:pt x="901" y="717"/>
                  </a:lnTo>
                  <a:lnTo>
                    <a:pt x="902" y="707"/>
                  </a:lnTo>
                  <a:lnTo>
                    <a:pt x="902" y="46"/>
                  </a:lnTo>
                  <a:lnTo>
                    <a:pt x="901" y="37"/>
                  </a:lnTo>
                  <a:lnTo>
                    <a:pt x="899" y="28"/>
                  </a:lnTo>
                  <a:lnTo>
                    <a:pt x="895" y="21"/>
                  </a:lnTo>
                  <a:lnTo>
                    <a:pt x="889" y="14"/>
                  </a:lnTo>
                  <a:lnTo>
                    <a:pt x="882" y="9"/>
                  </a:lnTo>
                  <a:lnTo>
                    <a:pt x="874" y="5"/>
                  </a:lnTo>
                  <a:lnTo>
                    <a:pt x="866" y="1"/>
                  </a:lnTo>
                  <a:lnTo>
                    <a:pt x="857" y="0"/>
                  </a:lnTo>
                  <a:lnTo>
                    <a:pt x="8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" name="Freeform 253">
              <a:extLst>
                <a:ext uri="{FF2B5EF4-FFF2-40B4-BE49-F238E27FC236}">
                  <a16:creationId xmlns:a16="http://schemas.microsoft.com/office/drawing/2014/main" id="{667E15F2-A897-4A0D-BA25-3F6FB0D87EF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620500" y="3128963"/>
              <a:ext cx="238125" cy="180975"/>
            </a:xfrm>
            <a:custGeom>
              <a:avLst/>
              <a:gdLst>
                <a:gd name="T0" fmla="*/ 721 w 752"/>
                <a:gd name="T1" fmla="*/ 532 h 571"/>
                <a:gd name="T2" fmla="*/ 716 w 752"/>
                <a:gd name="T3" fmla="*/ 539 h 571"/>
                <a:gd name="T4" fmla="*/ 707 w 752"/>
                <a:gd name="T5" fmla="*/ 541 h 571"/>
                <a:gd name="T6" fmla="*/ 70 w 752"/>
                <a:gd name="T7" fmla="*/ 540 h 571"/>
                <a:gd name="T8" fmla="*/ 63 w 752"/>
                <a:gd name="T9" fmla="*/ 535 h 571"/>
                <a:gd name="T10" fmla="*/ 60 w 752"/>
                <a:gd name="T11" fmla="*/ 526 h 571"/>
                <a:gd name="T12" fmla="*/ 78 w 752"/>
                <a:gd name="T13" fmla="*/ 450 h 571"/>
                <a:gd name="T14" fmla="*/ 86 w 752"/>
                <a:gd name="T15" fmla="*/ 447 h 571"/>
                <a:gd name="T16" fmla="*/ 90 w 752"/>
                <a:gd name="T17" fmla="*/ 440 h 571"/>
                <a:gd name="T18" fmla="*/ 90 w 752"/>
                <a:gd name="T19" fmla="*/ 373 h 571"/>
                <a:gd name="T20" fmla="*/ 86 w 752"/>
                <a:gd name="T21" fmla="*/ 366 h 571"/>
                <a:gd name="T22" fmla="*/ 78 w 752"/>
                <a:gd name="T23" fmla="*/ 361 h 571"/>
                <a:gd name="T24" fmla="*/ 60 w 752"/>
                <a:gd name="T25" fmla="*/ 210 h 571"/>
                <a:gd name="T26" fmla="*/ 81 w 752"/>
                <a:gd name="T27" fmla="*/ 209 h 571"/>
                <a:gd name="T28" fmla="*/ 88 w 752"/>
                <a:gd name="T29" fmla="*/ 204 h 571"/>
                <a:gd name="T30" fmla="*/ 90 w 752"/>
                <a:gd name="T31" fmla="*/ 195 h 571"/>
                <a:gd name="T32" fmla="*/ 89 w 752"/>
                <a:gd name="T33" fmla="*/ 130 h 571"/>
                <a:gd name="T34" fmla="*/ 84 w 752"/>
                <a:gd name="T35" fmla="*/ 122 h 571"/>
                <a:gd name="T36" fmla="*/ 75 w 752"/>
                <a:gd name="T37" fmla="*/ 120 h 571"/>
                <a:gd name="T38" fmla="*/ 60 w 752"/>
                <a:gd name="T39" fmla="*/ 42 h 571"/>
                <a:gd name="T40" fmla="*/ 64 w 752"/>
                <a:gd name="T41" fmla="*/ 35 h 571"/>
                <a:gd name="T42" fmla="*/ 72 w 752"/>
                <a:gd name="T43" fmla="*/ 30 h 571"/>
                <a:gd name="T44" fmla="*/ 710 w 752"/>
                <a:gd name="T45" fmla="*/ 30 h 571"/>
                <a:gd name="T46" fmla="*/ 718 w 752"/>
                <a:gd name="T47" fmla="*/ 35 h 571"/>
                <a:gd name="T48" fmla="*/ 721 w 752"/>
                <a:gd name="T49" fmla="*/ 42 h 571"/>
                <a:gd name="T50" fmla="*/ 30 w 752"/>
                <a:gd name="T51" fmla="*/ 391 h 571"/>
                <a:gd name="T52" fmla="*/ 30 w 752"/>
                <a:gd name="T53" fmla="*/ 421 h 571"/>
                <a:gd name="T54" fmla="*/ 60 w 752"/>
                <a:gd name="T55" fmla="*/ 150 h 571"/>
                <a:gd name="T56" fmla="*/ 30 w 752"/>
                <a:gd name="T57" fmla="*/ 150 h 571"/>
                <a:gd name="T58" fmla="*/ 66 w 752"/>
                <a:gd name="T59" fmla="*/ 0 h 571"/>
                <a:gd name="T60" fmla="*/ 43 w 752"/>
                <a:gd name="T61" fmla="*/ 13 h 571"/>
                <a:gd name="T62" fmla="*/ 31 w 752"/>
                <a:gd name="T63" fmla="*/ 36 h 571"/>
                <a:gd name="T64" fmla="*/ 15 w 752"/>
                <a:gd name="T65" fmla="*/ 120 h 571"/>
                <a:gd name="T66" fmla="*/ 6 w 752"/>
                <a:gd name="T67" fmla="*/ 122 h 571"/>
                <a:gd name="T68" fmla="*/ 1 w 752"/>
                <a:gd name="T69" fmla="*/ 130 h 571"/>
                <a:gd name="T70" fmla="*/ 0 w 752"/>
                <a:gd name="T71" fmla="*/ 195 h 571"/>
                <a:gd name="T72" fmla="*/ 2 w 752"/>
                <a:gd name="T73" fmla="*/ 204 h 571"/>
                <a:gd name="T74" fmla="*/ 10 w 752"/>
                <a:gd name="T75" fmla="*/ 209 h 571"/>
                <a:gd name="T76" fmla="*/ 30 w 752"/>
                <a:gd name="T77" fmla="*/ 210 h 571"/>
                <a:gd name="T78" fmla="*/ 12 w 752"/>
                <a:gd name="T79" fmla="*/ 361 h 571"/>
                <a:gd name="T80" fmla="*/ 4 w 752"/>
                <a:gd name="T81" fmla="*/ 366 h 571"/>
                <a:gd name="T82" fmla="*/ 0 w 752"/>
                <a:gd name="T83" fmla="*/ 373 h 571"/>
                <a:gd name="T84" fmla="*/ 0 w 752"/>
                <a:gd name="T85" fmla="*/ 438 h 571"/>
                <a:gd name="T86" fmla="*/ 4 w 752"/>
                <a:gd name="T87" fmla="*/ 447 h 571"/>
                <a:gd name="T88" fmla="*/ 12 w 752"/>
                <a:gd name="T89" fmla="*/ 450 h 571"/>
                <a:gd name="T90" fmla="*/ 30 w 752"/>
                <a:gd name="T91" fmla="*/ 526 h 571"/>
                <a:gd name="T92" fmla="*/ 37 w 752"/>
                <a:gd name="T93" fmla="*/ 551 h 571"/>
                <a:gd name="T94" fmla="*/ 58 w 752"/>
                <a:gd name="T95" fmla="*/ 568 h 571"/>
                <a:gd name="T96" fmla="*/ 707 w 752"/>
                <a:gd name="T97" fmla="*/ 571 h 571"/>
                <a:gd name="T98" fmla="*/ 732 w 752"/>
                <a:gd name="T99" fmla="*/ 564 h 571"/>
                <a:gd name="T100" fmla="*/ 748 w 752"/>
                <a:gd name="T101" fmla="*/ 543 h 571"/>
                <a:gd name="T102" fmla="*/ 752 w 752"/>
                <a:gd name="T103" fmla="*/ 45 h 571"/>
                <a:gd name="T104" fmla="*/ 745 w 752"/>
                <a:gd name="T105" fmla="*/ 20 h 571"/>
                <a:gd name="T106" fmla="*/ 724 w 752"/>
                <a:gd name="T107" fmla="*/ 4 h 5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752" h="571">
                  <a:moveTo>
                    <a:pt x="722" y="526"/>
                  </a:moveTo>
                  <a:lnTo>
                    <a:pt x="721" y="529"/>
                  </a:lnTo>
                  <a:lnTo>
                    <a:pt x="721" y="532"/>
                  </a:lnTo>
                  <a:lnTo>
                    <a:pt x="719" y="535"/>
                  </a:lnTo>
                  <a:lnTo>
                    <a:pt x="718" y="537"/>
                  </a:lnTo>
                  <a:lnTo>
                    <a:pt x="716" y="539"/>
                  </a:lnTo>
                  <a:lnTo>
                    <a:pt x="712" y="540"/>
                  </a:lnTo>
                  <a:lnTo>
                    <a:pt x="709" y="541"/>
                  </a:lnTo>
                  <a:lnTo>
                    <a:pt x="707" y="541"/>
                  </a:lnTo>
                  <a:lnTo>
                    <a:pt x="75" y="541"/>
                  </a:lnTo>
                  <a:lnTo>
                    <a:pt x="72" y="541"/>
                  </a:lnTo>
                  <a:lnTo>
                    <a:pt x="70" y="540"/>
                  </a:lnTo>
                  <a:lnTo>
                    <a:pt x="66" y="539"/>
                  </a:lnTo>
                  <a:lnTo>
                    <a:pt x="64" y="537"/>
                  </a:lnTo>
                  <a:lnTo>
                    <a:pt x="63" y="535"/>
                  </a:lnTo>
                  <a:lnTo>
                    <a:pt x="61" y="532"/>
                  </a:lnTo>
                  <a:lnTo>
                    <a:pt x="60" y="529"/>
                  </a:lnTo>
                  <a:lnTo>
                    <a:pt x="60" y="526"/>
                  </a:lnTo>
                  <a:lnTo>
                    <a:pt x="60" y="451"/>
                  </a:lnTo>
                  <a:lnTo>
                    <a:pt x="75" y="451"/>
                  </a:lnTo>
                  <a:lnTo>
                    <a:pt x="78" y="450"/>
                  </a:lnTo>
                  <a:lnTo>
                    <a:pt x="81" y="450"/>
                  </a:lnTo>
                  <a:lnTo>
                    <a:pt x="84" y="448"/>
                  </a:lnTo>
                  <a:lnTo>
                    <a:pt x="86" y="447"/>
                  </a:lnTo>
                  <a:lnTo>
                    <a:pt x="88" y="445"/>
                  </a:lnTo>
                  <a:lnTo>
                    <a:pt x="89" y="442"/>
                  </a:lnTo>
                  <a:lnTo>
                    <a:pt x="90" y="440"/>
                  </a:lnTo>
                  <a:lnTo>
                    <a:pt x="90" y="436"/>
                  </a:lnTo>
                  <a:lnTo>
                    <a:pt x="90" y="376"/>
                  </a:lnTo>
                  <a:lnTo>
                    <a:pt x="90" y="373"/>
                  </a:lnTo>
                  <a:lnTo>
                    <a:pt x="89" y="370"/>
                  </a:lnTo>
                  <a:lnTo>
                    <a:pt x="88" y="368"/>
                  </a:lnTo>
                  <a:lnTo>
                    <a:pt x="86" y="366"/>
                  </a:lnTo>
                  <a:lnTo>
                    <a:pt x="84" y="363"/>
                  </a:lnTo>
                  <a:lnTo>
                    <a:pt x="81" y="362"/>
                  </a:lnTo>
                  <a:lnTo>
                    <a:pt x="78" y="361"/>
                  </a:lnTo>
                  <a:lnTo>
                    <a:pt x="75" y="361"/>
                  </a:lnTo>
                  <a:lnTo>
                    <a:pt x="60" y="361"/>
                  </a:lnTo>
                  <a:lnTo>
                    <a:pt x="60" y="210"/>
                  </a:lnTo>
                  <a:lnTo>
                    <a:pt x="75" y="210"/>
                  </a:lnTo>
                  <a:lnTo>
                    <a:pt x="78" y="210"/>
                  </a:lnTo>
                  <a:lnTo>
                    <a:pt x="81" y="209"/>
                  </a:lnTo>
                  <a:lnTo>
                    <a:pt x="84" y="208"/>
                  </a:lnTo>
                  <a:lnTo>
                    <a:pt x="86" y="206"/>
                  </a:lnTo>
                  <a:lnTo>
                    <a:pt x="88" y="204"/>
                  </a:lnTo>
                  <a:lnTo>
                    <a:pt x="89" y="202"/>
                  </a:lnTo>
                  <a:lnTo>
                    <a:pt x="90" y="198"/>
                  </a:lnTo>
                  <a:lnTo>
                    <a:pt x="90" y="195"/>
                  </a:lnTo>
                  <a:lnTo>
                    <a:pt x="90" y="135"/>
                  </a:lnTo>
                  <a:lnTo>
                    <a:pt x="90" y="132"/>
                  </a:lnTo>
                  <a:lnTo>
                    <a:pt x="89" y="130"/>
                  </a:lnTo>
                  <a:lnTo>
                    <a:pt x="88" y="127"/>
                  </a:lnTo>
                  <a:lnTo>
                    <a:pt x="86" y="125"/>
                  </a:lnTo>
                  <a:lnTo>
                    <a:pt x="84" y="122"/>
                  </a:lnTo>
                  <a:lnTo>
                    <a:pt x="81" y="121"/>
                  </a:lnTo>
                  <a:lnTo>
                    <a:pt x="78" y="120"/>
                  </a:lnTo>
                  <a:lnTo>
                    <a:pt x="75" y="120"/>
                  </a:lnTo>
                  <a:lnTo>
                    <a:pt x="60" y="120"/>
                  </a:lnTo>
                  <a:lnTo>
                    <a:pt x="60" y="45"/>
                  </a:lnTo>
                  <a:lnTo>
                    <a:pt x="60" y="42"/>
                  </a:lnTo>
                  <a:lnTo>
                    <a:pt x="61" y="39"/>
                  </a:lnTo>
                  <a:lnTo>
                    <a:pt x="63" y="37"/>
                  </a:lnTo>
                  <a:lnTo>
                    <a:pt x="64" y="35"/>
                  </a:lnTo>
                  <a:lnTo>
                    <a:pt x="66" y="32"/>
                  </a:lnTo>
                  <a:lnTo>
                    <a:pt x="70" y="31"/>
                  </a:lnTo>
                  <a:lnTo>
                    <a:pt x="72" y="30"/>
                  </a:lnTo>
                  <a:lnTo>
                    <a:pt x="75" y="30"/>
                  </a:lnTo>
                  <a:lnTo>
                    <a:pt x="707" y="30"/>
                  </a:lnTo>
                  <a:lnTo>
                    <a:pt x="710" y="30"/>
                  </a:lnTo>
                  <a:lnTo>
                    <a:pt x="712" y="31"/>
                  </a:lnTo>
                  <a:lnTo>
                    <a:pt x="716" y="32"/>
                  </a:lnTo>
                  <a:lnTo>
                    <a:pt x="718" y="35"/>
                  </a:lnTo>
                  <a:lnTo>
                    <a:pt x="719" y="37"/>
                  </a:lnTo>
                  <a:lnTo>
                    <a:pt x="721" y="39"/>
                  </a:lnTo>
                  <a:lnTo>
                    <a:pt x="721" y="42"/>
                  </a:lnTo>
                  <a:lnTo>
                    <a:pt x="722" y="45"/>
                  </a:lnTo>
                  <a:lnTo>
                    <a:pt x="722" y="526"/>
                  </a:lnTo>
                  <a:close/>
                  <a:moveTo>
                    <a:pt x="30" y="391"/>
                  </a:moveTo>
                  <a:lnTo>
                    <a:pt x="60" y="391"/>
                  </a:lnTo>
                  <a:lnTo>
                    <a:pt x="60" y="421"/>
                  </a:lnTo>
                  <a:lnTo>
                    <a:pt x="30" y="421"/>
                  </a:lnTo>
                  <a:lnTo>
                    <a:pt x="30" y="391"/>
                  </a:lnTo>
                  <a:close/>
                  <a:moveTo>
                    <a:pt x="30" y="150"/>
                  </a:moveTo>
                  <a:lnTo>
                    <a:pt x="60" y="150"/>
                  </a:lnTo>
                  <a:lnTo>
                    <a:pt x="60" y="180"/>
                  </a:lnTo>
                  <a:lnTo>
                    <a:pt x="30" y="180"/>
                  </a:lnTo>
                  <a:lnTo>
                    <a:pt x="30" y="150"/>
                  </a:lnTo>
                  <a:close/>
                  <a:moveTo>
                    <a:pt x="707" y="0"/>
                  </a:moveTo>
                  <a:lnTo>
                    <a:pt x="75" y="0"/>
                  </a:lnTo>
                  <a:lnTo>
                    <a:pt x="66" y="0"/>
                  </a:lnTo>
                  <a:lnTo>
                    <a:pt x="58" y="4"/>
                  </a:lnTo>
                  <a:lnTo>
                    <a:pt x="50" y="8"/>
                  </a:lnTo>
                  <a:lnTo>
                    <a:pt x="43" y="13"/>
                  </a:lnTo>
                  <a:lnTo>
                    <a:pt x="37" y="20"/>
                  </a:lnTo>
                  <a:lnTo>
                    <a:pt x="33" y="27"/>
                  </a:lnTo>
                  <a:lnTo>
                    <a:pt x="31" y="36"/>
                  </a:lnTo>
                  <a:lnTo>
                    <a:pt x="30" y="45"/>
                  </a:lnTo>
                  <a:lnTo>
                    <a:pt x="30" y="120"/>
                  </a:lnTo>
                  <a:lnTo>
                    <a:pt x="15" y="120"/>
                  </a:lnTo>
                  <a:lnTo>
                    <a:pt x="12" y="120"/>
                  </a:lnTo>
                  <a:lnTo>
                    <a:pt x="10" y="121"/>
                  </a:lnTo>
                  <a:lnTo>
                    <a:pt x="6" y="122"/>
                  </a:lnTo>
                  <a:lnTo>
                    <a:pt x="4" y="125"/>
                  </a:lnTo>
                  <a:lnTo>
                    <a:pt x="2" y="127"/>
                  </a:lnTo>
                  <a:lnTo>
                    <a:pt x="1" y="130"/>
                  </a:lnTo>
                  <a:lnTo>
                    <a:pt x="0" y="132"/>
                  </a:lnTo>
                  <a:lnTo>
                    <a:pt x="0" y="135"/>
                  </a:lnTo>
                  <a:lnTo>
                    <a:pt x="0" y="195"/>
                  </a:lnTo>
                  <a:lnTo>
                    <a:pt x="0" y="198"/>
                  </a:lnTo>
                  <a:lnTo>
                    <a:pt x="1" y="202"/>
                  </a:lnTo>
                  <a:lnTo>
                    <a:pt x="2" y="204"/>
                  </a:lnTo>
                  <a:lnTo>
                    <a:pt x="4" y="206"/>
                  </a:lnTo>
                  <a:lnTo>
                    <a:pt x="6" y="208"/>
                  </a:lnTo>
                  <a:lnTo>
                    <a:pt x="10" y="209"/>
                  </a:lnTo>
                  <a:lnTo>
                    <a:pt x="12" y="210"/>
                  </a:lnTo>
                  <a:lnTo>
                    <a:pt x="15" y="210"/>
                  </a:lnTo>
                  <a:lnTo>
                    <a:pt x="30" y="210"/>
                  </a:lnTo>
                  <a:lnTo>
                    <a:pt x="30" y="361"/>
                  </a:lnTo>
                  <a:lnTo>
                    <a:pt x="15" y="361"/>
                  </a:lnTo>
                  <a:lnTo>
                    <a:pt x="12" y="361"/>
                  </a:lnTo>
                  <a:lnTo>
                    <a:pt x="10" y="362"/>
                  </a:lnTo>
                  <a:lnTo>
                    <a:pt x="6" y="363"/>
                  </a:lnTo>
                  <a:lnTo>
                    <a:pt x="4" y="366"/>
                  </a:lnTo>
                  <a:lnTo>
                    <a:pt x="2" y="368"/>
                  </a:lnTo>
                  <a:lnTo>
                    <a:pt x="1" y="370"/>
                  </a:lnTo>
                  <a:lnTo>
                    <a:pt x="0" y="373"/>
                  </a:lnTo>
                  <a:lnTo>
                    <a:pt x="0" y="376"/>
                  </a:lnTo>
                  <a:lnTo>
                    <a:pt x="0" y="436"/>
                  </a:lnTo>
                  <a:lnTo>
                    <a:pt x="0" y="438"/>
                  </a:lnTo>
                  <a:lnTo>
                    <a:pt x="1" y="442"/>
                  </a:lnTo>
                  <a:lnTo>
                    <a:pt x="2" y="444"/>
                  </a:lnTo>
                  <a:lnTo>
                    <a:pt x="4" y="447"/>
                  </a:lnTo>
                  <a:lnTo>
                    <a:pt x="6" y="448"/>
                  </a:lnTo>
                  <a:lnTo>
                    <a:pt x="10" y="450"/>
                  </a:lnTo>
                  <a:lnTo>
                    <a:pt x="12" y="450"/>
                  </a:lnTo>
                  <a:lnTo>
                    <a:pt x="15" y="451"/>
                  </a:lnTo>
                  <a:lnTo>
                    <a:pt x="30" y="451"/>
                  </a:lnTo>
                  <a:lnTo>
                    <a:pt x="30" y="526"/>
                  </a:lnTo>
                  <a:lnTo>
                    <a:pt x="31" y="535"/>
                  </a:lnTo>
                  <a:lnTo>
                    <a:pt x="33" y="543"/>
                  </a:lnTo>
                  <a:lnTo>
                    <a:pt x="37" y="551"/>
                  </a:lnTo>
                  <a:lnTo>
                    <a:pt x="43" y="558"/>
                  </a:lnTo>
                  <a:lnTo>
                    <a:pt x="50" y="564"/>
                  </a:lnTo>
                  <a:lnTo>
                    <a:pt x="58" y="568"/>
                  </a:lnTo>
                  <a:lnTo>
                    <a:pt x="66" y="570"/>
                  </a:lnTo>
                  <a:lnTo>
                    <a:pt x="75" y="571"/>
                  </a:lnTo>
                  <a:lnTo>
                    <a:pt x="707" y="571"/>
                  </a:lnTo>
                  <a:lnTo>
                    <a:pt x="716" y="570"/>
                  </a:lnTo>
                  <a:lnTo>
                    <a:pt x="724" y="568"/>
                  </a:lnTo>
                  <a:lnTo>
                    <a:pt x="732" y="564"/>
                  </a:lnTo>
                  <a:lnTo>
                    <a:pt x="738" y="558"/>
                  </a:lnTo>
                  <a:lnTo>
                    <a:pt x="745" y="551"/>
                  </a:lnTo>
                  <a:lnTo>
                    <a:pt x="748" y="543"/>
                  </a:lnTo>
                  <a:lnTo>
                    <a:pt x="751" y="535"/>
                  </a:lnTo>
                  <a:lnTo>
                    <a:pt x="752" y="526"/>
                  </a:lnTo>
                  <a:lnTo>
                    <a:pt x="752" y="45"/>
                  </a:lnTo>
                  <a:lnTo>
                    <a:pt x="751" y="36"/>
                  </a:lnTo>
                  <a:lnTo>
                    <a:pt x="748" y="27"/>
                  </a:lnTo>
                  <a:lnTo>
                    <a:pt x="745" y="20"/>
                  </a:lnTo>
                  <a:lnTo>
                    <a:pt x="738" y="13"/>
                  </a:lnTo>
                  <a:lnTo>
                    <a:pt x="732" y="8"/>
                  </a:lnTo>
                  <a:lnTo>
                    <a:pt x="724" y="4"/>
                  </a:lnTo>
                  <a:lnTo>
                    <a:pt x="716" y="1"/>
                  </a:lnTo>
                  <a:lnTo>
                    <a:pt x="70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3" name="Freeform 254">
              <a:extLst>
                <a:ext uri="{FF2B5EF4-FFF2-40B4-BE49-F238E27FC236}">
                  <a16:creationId xmlns:a16="http://schemas.microsoft.com/office/drawing/2014/main" id="{287878F3-1EBF-466B-92D8-8653CF9D121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753850" y="3148013"/>
              <a:ext cx="76200" cy="76200"/>
            </a:xfrm>
            <a:custGeom>
              <a:avLst/>
              <a:gdLst>
                <a:gd name="T0" fmla="*/ 102 w 241"/>
                <a:gd name="T1" fmla="*/ 209 h 240"/>
                <a:gd name="T2" fmla="*/ 77 w 241"/>
                <a:gd name="T3" fmla="*/ 200 h 240"/>
                <a:gd name="T4" fmla="*/ 57 w 241"/>
                <a:gd name="T5" fmla="*/ 185 h 240"/>
                <a:gd name="T6" fmla="*/ 41 w 241"/>
                <a:gd name="T7" fmla="*/ 163 h 240"/>
                <a:gd name="T8" fmla="*/ 32 w 241"/>
                <a:gd name="T9" fmla="*/ 138 h 240"/>
                <a:gd name="T10" fmla="*/ 31 w 241"/>
                <a:gd name="T11" fmla="*/ 112 h 240"/>
                <a:gd name="T12" fmla="*/ 37 w 241"/>
                <a:gd name="T13" fmla="*/ 85 h 240"/>
                <a:gd name="T14" fmla="*/ 50 w 241"/>
                <a:gd name="T15" fmla="*/ 64 h 240"/>
                <a:gd name="T16" fmla="*/ 70 w 241"/>
                <a:gd name="T17" fmla="*/ 45 h 240"/>
                <a:gd name="T18" fmla="*/ 93 w 241"/>
                <a:gd name="T19" fmla="*/ 35 h 240"/>
                <a:gd name="T20" fmla="*/ 120 w 241"/>
                <a:gd name="T21" fmla="*/ 30 h 240"/>
                <a:gd name="T22" fmla="*/ 147 w 241"/>
                <a:gd name="T23" fmla="*/ 35 h 240"/>
                <a:gd name="T24" fmla="*/ 170 w 241"/>
                <a:gd name="T25" fmla="*/ 45 h 240"/>
                <a:gd name="T26" fmla="*/ 190 w 241"/>
                <a:gd name="T27" fmla="*/ 64 h 240"/>
                <a:gd name="T28" fmla="*/ 204 w 241"/>
                <a:gd name="T29" fmla="*/ 85 h 240"/>
                <a:gd name="T30" fmla="*/ 210 w 241"/>
                <a:gd name="T31" fmla="*/ 112 h 240"/>
                <a:gd name="T32" fmla="*/ 209 w 241"/>
                <a:gd name="T33" fmla="*/ 138 h 240"/>
                <a:gd name="T34" fmla="*/ 199 w 241"/>
                <a:gd name="T35" fmla="*/ 163 h 240"/>
                <a:gd name="T36" fmla="*/ 184 w 241"/>
                <a:gd name="T37" fmla="*/ 185 h 240"/>
                <a:gd name="T38" fmla="*/ 163 w 241"/>
                <a:gd name="T39" fmla="*/ 200 h 240"/>
                <a:gd name="T40" fmla="*/ 138 w 241"/>
                <a:gd name="T41" fmla="*/ 209 h 240"/>
                <a:gd name="T42" fmla="*/ 120 w 241"/>
                <a:gd name="T43" fmla="*/ 0 h 240"/>
                <a:gd name="T44" fmla="*/ 85 w 241"/>
                <a:gd name="T45" fmla="*/ 6 h 240"/>
                <a:gd name="T46" fmla="*/ 54 w 241"/>
                <a:gd name="T47" fmla="*/ 21 h 240"/>
                <a:gd name="T48" fmla="*/ 28 w 241"/>
                <a:gd name="T49" fmla="*/ 44 h 240"/>
                <a:gd name="T50" fmla="*/ 10 w 241"/>
                <a:gd name="T51" fmla="*/ 73 h 240"/>
                <a:gd name="T52" fmla="*/ 1 w 241"/>
                <a:gd name="T53" fmla="*/ 108 h 240"/>
                <a:gd name="T54" fmla="*/ 2 w 241"/>
                <a:gd name="T55" fmla="*/ 145 h 240"/>
                <a:gd name="T56" fmla="*/ 15 w 241"/>
                <a:gd name="T57" fmla="*/ 178 h 240"/>
                <a:gd name="T58" fmla="*/ 35 w 241"/>
                <a:gd name="T59" fmla="*/ 205 h 240"/>
                <a:gd name="T60" fmla="*/ 63 w 241"/>
                <a:gd name="T61" fmla="*/ 226 h 240"/>
                <a:gd name="T62" fmla="*/ 96 w 241"/>
                <a:gd name="T63" fmla="*/ 238 h 240"/>
                <a:gd name="T64" fmla="*/ 133 w 241"/>
                <a:gd name="T65" fmla="*/ 240 h 240"/>
                <a:gd name="T66" fmla="*/ 167 w 241"/>
                <a:gd name="T67" fmla="*/ 232 h 240"/>
                <a:gd name="T68" fmla="*/ 197 w 241"/>
                <a:gd name="T69" fmla="*/ 213 h 240"/>
                <a:gd name="T70" fmla="*/ 220 w 241"/>
                <a:gd name="T71" fmla="*/ 188 h 240"/>
                <a:gd name="T72" fmla="*/ 236 w 241"/>
                <a:gd name="T73" fmla="*/ 156 h 240"/>
                <a:gd name="T74" fmla="*/ 241 w 241"/>
                <a:gd name="T75" fmla="*/ 120 h 240"/>
                <a:gd name="T76" fmla="*/ 236 w 241"/>
                <a:gd name="T77" fmla="*/ 85 h 240"/>
                <a:gd name="T78" fmla="*/ 220 w 241"/>
                <a:gd name="T79" fmla="*/ 53 h 240"/>
                <a:gd name="T80" fmla="*/ 197 w 241"/>
                <a:gd name="T81" fmla="*/ 27 h 240"/>
                <a:gd name="T82" fmla="*/ 167 w 241"/>
                <a:gd name="T83" fmla="*/ 10 h 240"/>
                <a:gd name="T84" fmla="*/ 133 w 241"/>
                <a:gd name="T85" fmla="*/ 0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41" h="240">
                  <a:moveTo>
                    <a:pt x="120" y="210"/>
                  </a:moveTo>
                  <a:lnTo>
                    <a:pt x="111" y="210"/>
                  </a:lnTo>
                  <a:lnTo>
                    <a:pt x="102" y="209"/>
                  </a:lnTo>
                  <a:lnTo>
                    <a:pt x="93" y="206"/>
                  </a:lnTo>
                  <a:lnTo>
                    <a:pt x="86" y="204"/>
                  </a:lnTo>
                  <a:lnTo>
                    <a:pt x="77" y="200"/>
                  </a:lnTo>
                  <a:lnTo>
                    <a:pt x="70" y="195"/>
                  </a:lnTo>
                  <a:lnTo>
                    <a:pt x="63" y="190"/>
                  </a:lnTo>
                  <a:lnTo>
                    <a:pt x="57" y="185"/>
                  </a:lnTo>
                  <a:lnTo>
                    <a:pt x="50" y="178"/>
                  </a:lnTo>
                  <a:lnTo>
                    <a:pt x="45" y="171"/>
                  </a:lnTo>
                  <a:lnTo>
                    <a:pt x="41" y="163"/>
                  </a:lnTo>
                  <a:lnTo>
                    <a:pt x="37" y="156"/>
                  </a:lnTo>
                  <a:lnTo>
                    <a:pt x="34" y="147"/>
                  </a:lnTo>
                  <a:lnTo>
                    <a:pt x="32" y="138"/>
                  </a:lnTo>
                  <a:lnTo>
                    <a:pt x="31" y="130"/>
                  </a:lnTo>
                  <a:lnTo>
                    <a:pt x="30" y="120"/>
                  </a:lnTo>
                  <a:lnTo>
                    <a:pt x="31" y="112"/>
                  </a:lnTo>
                  <a:lnTo>
                    <a:pt x="32" y="102"/>
                  </a:lnTo>
                  <a:lnTo>
                    <a:pt x="34" y="93"/>
                  </a:lnTo>
                  <a:lnTo>
                    <a:pt x="37" y="85"/>
                  </a:lnTo>
                  <a:lnTo>
                    <a:pt x="41" y="77"/>
                  </a:lnTo>
                  <a:lnTo>
                    <a:pt x="45" y="70"/>
                  </a:lnTo>
                  <a:lnTo>
                    <a:pt x="50" y="64"/>
                  </a:lnTo>
                  <a:lnTo>
                    <a:pt x="57" y="57"/>
                  </a:lnTo>
                  <a:lnTo>
                    <a:pt x="63" y="51"/>
                  </a:lnTo>
                  <a:lnTo>
                    <a:pt x="70" y="45"/>
                  </a:lnTo>
                  <a:lnTo>
                    <a:pt x="77" y="41"/>
                  </a:lnTo>
                  <a:lnTo>
                    <a:pt x="86" y="38"/>
                  </a:lnTo>
                  <a:lnTo>
                    <a:pt x="93" y="35"/>
                  </a:lnTo>
                  <a:lnTo>
                    <a:pt x="102" y="32"/>
                  </a:lnTo>
                  <a:lnTo>
                    <a:pt x="111" y="30"/>
                  </a:lnTo>
                  <a:lnTo>
                    <a:pt x="120" y="30"/>
                  </a:lnTo>
                  <a:lnTo>
                    <a:pt x="130" y="30"/>
                  </a:lnTo>
                  <a:lnTo>
                    <a:pt x="138" y="32"/>
                  </a:lnTo>
                  <a:lnTo>
                    <a:pt x="147" y="35"/>
                  </a:lnTo>
                  <a:lnTo>
                    <a:pt x="155" y="38"/>
                  </a:lnTo>
                  <a:lnTo>
                    <a:pt x="163" y="41"/>
                  </a:lnTo>
                  <a:lnTo>
                    <a:pt x="170" y="45"/>
                  </a:lnTo>
                  <a:lnTo>
                    <a:pt x="178" y="51"/>
                  </a:lnTo>
                  <a:lnTo>
                    <a:pt x="184" y="57"/>
                  </a:lnTo>
                  <a:lnTo>
                    <a:pt x="190" y="64"/>
                  </a:lnTo>
                  <a:lnTo>
                    <a:pt x="195" y="70"/>
                  </a:lnTo>
                  <a:lnTo>
                    <a:pt x="199" y="77"/>
                  </a:lnTo>
                  <a:lnTo>
                    <a:pt x="204" y="85"/>
                  </a:lnTo>
                  <a:lnTo>
                    <a:pt x="207" y="93"/>
                  </a:lnTo>
                  <a:lnTo>
                    <a:pt x="209" y="102"/>
                  </a:lnTo>
                  <a:lnTo>
                    <a:pt x="210" y="112"/>
                  </a:lnTo>
                  <a:lnTo>
                    <a:pt x="211" y="120"/>
                  </a:lnTo>
                  <a:lnTo>
                    <a:pt x="210" y="130"/>
                  </a:lnTo>
                  <a:lnTo>
                    <a:pt x="209" y="138"/>
                  </a:lnTo>
                  <a:lnTo>
                    <a:pt x="207" y="147"/>
                  </a:lnTo>
                  <a:lnTo>
                    <a:pt x="204" y="156"/>
                  </a:lnTo>
                  <a:lnTo>
                    <a:pt x="199" y="163"/>
                  </a:lnTo>
                  <a:lnTo>
                    <a:pt x="195" y="171"/>
                  </a:lnTo>
                  <a:lnTo>
                    <a:pt x="190" y="178"/>
                  </a:lnTo>
                  <a:lnTo>
                    <a:pt x="184" y="185"/>
                  </a:lnTo>
                  <a:lnTo>
                    <a:pt x="178" y="190"/>
                  </a:lnTo>
                  <a:lnTo>
                    <a:pt x="170" y="195"/>
                  </a:lnTo>
                  <a:lnTo>
                    <a:pt x="163" y="200"/>
                  </a:lnTo>
                  <a:lnTo>
                    <a:pt x="155" y="204"/>
                  </a:lnTo>
                  <a:lnTo>
                    <a:pt x="147" y="206"/>
                  </a:lnTo>
                  <a:lnTo>
                    <a:pt x="138" y="209"/>
                  </a:lnTo>
                  <a:lnTo>
                    <a:pt x="130" y="210"/>
                  </a:lnTo>
                  <a:lnTo>
                    <a:pt x="120" y="210"/>
                  </a:lnTo>
                  <a:close/>
                  <a:moveTo>
                    <a:pt x="120" y="0"/>
                  </a:moveTo>
                  <a:lnTo>
                    <a:pt x="108" y="0"/>
                  </a:lnTo>
                  <a:lnTo>
                    <a:pt x="96" y="2"/>
                  </a:lnTo>
                  <a:lnTo>
                    <a:pt x="85" y="6"/>
                  </a:lnTo>
                  <a:lnTo>
                    <a:pt x="74" y="10"/>
                  </a:lnTo>
                  <a:lnTo>
                    <a:pt x="63" y="14"/>
                  </a:lnTo>
                  <a:lnTo>
                    <a:pt x="54" y="21"/>
                  </a:lnTo>
                  <a:lnTo>
                    <a:pt x="44" y="27"/>
                  </a:lnTo>
                  <a:lnTo>
                    <a:pt x="35" y="36"/>
                  </a:lnTo>
                  <a:lnTo>
                    <a:pt x="28" y="44"/>
                  </a:lnTo>
                  <a:lnTo>
                    <a:pt x="20" y="53"/>
                  </a:lnTo>
                  <a:lnTo>
                    <a:pt x="15" y="64"/>
                  </a:lnTo>
                  <a:lnTo>
                    <a:pt x="10" y="73"/>
                  </a:lnTo>
                  <a:lnTo>
                    <a:pt x="5" y="85"/>
                  </a:lnTo>
                  <a:lnTo>
                    <a:pt x="2" y="96"/>
                  </a:lnTo>
                  <a:lnTo>
                    <a:pt x="1" y="108"/>
                  </a:lnTo>
                  <a:lnTo>
                    <a:pt x="0" y="120"/>
                  </a:lnTo>
                  <a:lnTo>
                    <a:pt x="1" y="133"/>
                  </a:lnTo>
                  <a:lnTo>
                    <a:pt x="2" y="145"/>
                  </a:lnTo>
                  <a:lnTo>
                    <a:pt x="5" y="156"/>
                  </a:lnTo>
                  <a:lnTo>
                    <a:pt x="10" y="167"/>
                  </a:lnTo>
                  <a:lnTo>
                    <a:pt x="15" y="178"/>
                  </a:lnTo>
                  <a:lnTo>
                    <a:pt x="20" y="188"/>
                  </a:lnTo>
                  <a:lnTo>
                    <a:pt x="28" y="196"/>
                  </a:lnTo>
                  <a:lnTo>
                    <a:pt x="35" y="205"/>
                  </a:lnTo>
                  <a:lnTo>
                    <a:pt x="44" y="213"/>
                  </a:lnTo>
                  <a:lnTo>
                    <a:pt x="54" y="220"/>
                  </a:lnTo>
                  <a:lnTo>
                    <a:pt x="63" y="226"/>
                  </a:lnTo>
                  <a:lnTo>
                    <a:pt x="74" y="232"/>
                  </a:lnTo>
                  <a:lnTo>
                    <a:pt x="85" y="235"/>
                  </a:lnTo>
                  <a:lnTo>
                    <a:pt x="96" y="238"/>
                  </a:lnTo>
                  <a:lnTo>
                    <a:pt x="108" y="240"/>
                  </a:lnTo>
                  <a:lnTo>
                    <a:pt x="120" y="240"/>
                  </a:lnTo>
                  <a:lnTo>
                    <a:pt x="133" y="240"/>
                  </a:lnTo>
                  <a:lnTo>
                    <a:pt x="145" y="238"/>
                  </a:lnTo>
                  <a:lnTo>
                    <a:pt x="156" y="235"/>
                  </a:lnTo>
                  <a:lnTo>
                    <a:pt x="167" y="232"/>
                  </a:lnTo>
                  <a:lnTo>
                    <a:pt x="178" y="226"/>
                  </a:lnTo>
                  <a:lnTo>
                    <a:pt x="187" y="220"/>
                  </a:lnTo>
                  <a:lnTo>
                    <a:pt x="197" y="213"/>
                  </a:lnTo>
                  <a:lnTo>
                    <a:pt x="206" y="205"/>
                  </a:lnTo>
                  <a:lnTo>
                    <a:pt x="213" y="196"/>
                  </a:lnTo>
                  <a:lnTo>
                    <a:pt x="220" y="188"/>
                  </a:lnTo>
                  <a:lnTo>
                    <a:pt x="226" y="178"/>
                  </a:lnTo>
                  <a:lnTo>
                    <a:pt x="231" y="167"/>
                  </a:lnTo>
                  <a:lnTo>
                    <a:pt x="236" y="156"/>
                  </a:lnTo>
                  <a:lnTo>
                    <a:pt x="238" y="145"/>
                  </a:lnTo>
                  <a:lnTo>
                    <a:pt x="240" y="133"/>
                  </a:lnTo>
                  <a:lnTo>
                    <a:pt x="241" y="120"/>
                  </a:lnTo>
                  <a:lnTo>
                    <a:pt x="240" y="108"/>
                  </a:lnTo>
                  <a:lnTo>
                    <a:pt x="238" y="96"/>
                  </a:lnTo>
                  <a:lnTo>
                    <a:pt x="236" y="85"/>
                  </a:lnTo>
                  <a:lnTo>
                    <a:pt x="231" y="73"/>
                  </a:lnTo>
                  <a:lnTo>
                    <a:pt x="226" y="64"/>
                  </a:lnTo>
                  <a:lnTo>
                    <a:pt x="220" y="53"/>
                  </a:lnTo>
                  <a:lnTo>
                    <a:pt x="213" y="44"/>
                  </a:lnTo>
                  <a:lnTo>
                    <a:pt x="206" y="36"/>
                  </a:lnTo>
                  <a:lnTo>
                    <a:pt x="197" y="27"/>
                  </a:lnTo>
                  <a:lnTo>
                    <a:pt x="187" y="21"/>
                  </a:lnTo>
                  <a:lnTo>
                    <a:pt x="178" y="14"/>
                  </a:lnTo>
                  <a:lnTo>
                    <a:pt x="167" y="10"/>
                  </a:lnTo>
                  <a:lnTo>
                    <a:pt x="156" y="6"/>
                  </a:lnTo>
                  <a:lnTo>
                    <a:pt x="145" y="2"/>
                  </a:lnTo>
                  <a:lnTo>
                    <a:pt x="133" y="0"/>
                  </a:lnTo>
                  <a:lnTo>
                    <a:pt x="120" y="0"/>
                  </a:lnTo>
                  <a:lnTo>
                    <a:pt x="12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" name="Freeform 255">
              <a:extLst>
                <a:ext uri="{FF2B5EF4-FFF2-40B4-BE49-F238E27FC236}">
                  <a16:creationId xmlns:a16="http://schemas.microsoft.com/office/drawing/2014/main" id="{8BCE2C31-2A77-4F5B-87E8-337CF551B3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82425" y="3176588"/>
              <a:ext cx="19050" cy="19050"/>
            </a:xfrm>
            <a:custGeom>
              <a:avLst/>
              <a:gdLst>
                <a:gd name="T0" fmla="*/ 30 w 60"/>
                <a:gd name="T1" fmla="*/ 0 h 60"/>
                <a:gd name="T2" fmla="*/ 25 w 60"/>
                <a:gd name="T3" fmla="*/ 1 h 60"/>
                <a:gd name="T4" fmla="*/ 18 w 60"/>
                <a:gd name="T5" fmla="*/ 2 h 60"/>
                <a:gd name="T6" fmla="*/ 14 w 60"/>
                <a:gd name="T7" fmla="*/ 6 h 60"/>
                <a:gd name="T8" fmla="*/ 9 w 60"/>
                <a:gd name="T9" fmla="*/ 9 h 60"/>
                <a:gd name="T10" fmla="*/ 5 w 60"/>
                <a:gd name="T11" fmla="*/ 13 h 60"/>
                <a:gd name="T12" fmla="*/ 2 w 60"/>
                <a:gd name="T13" fmla="*/ 18 h 60"/>
                <a:gd name="T14" fmla="*/ 1 w 60"/>
                <a:gd name="T15" fmla="*/ 24 h 60"/>
                <a:gd name="T16" fmla="*/ 0 w 60"/>
                <a:gd name="T17" fmla="*/ 30 h 60"/>
                <a:gd name="T18" fmla="*/ 1 w 60"/>
                <a:gd name="T19" fmla="*/ 37 h 60"/>
                <a:gd name="T20" fmla="*/ 2 w 60"/>
                <a:gd name="T21" fmla="*/ 42 h 60"/>
                <a:gd name="T22" fmla="*/ 5 w 60"/>
                <a:gd name="T23" fmla="*/ 47 h 60"/>
                <a:gd name="T24" fmla="*/ 9 w 60"/>
                <a:gd name="T25" fmla="*/ 52 h 60"/>
                <a:gd name="T26" fmla="*/ 14 w 60"/>
                <a:gd name="T27" fmla="*/ 55 h 60"/>
                <a:gd name="T28" fmla="*/ 18 w 60"/>
                <a:gd name="T29" fmla="*/ 58 h 60"/>
                <a:gd name="T30" fmla="*/ 25 w 60"/>
                <a:gd name="T31" fmla="*/ 60 h 60"/>
                <a:gd name="T32" fmla="*/ 30 w 60"/>
                <a:gd name="T33" fmla="*/ 60 h 60"/>
                <a:gd name="T34" fmla="*/ 36 w 60"/>
                <a:gd name="T35" fmla="*/ 60 h 60"/>
                <a:gd name="T36" fmla="*/ 42 w 60"/>
                <a:gd name="T37" fmla="*/ 58 h 60"/>
                <a:gd name="T38" fmla="*/ 47 w 60"/>
                <a:gd name="T39" fmla="*/ 55 h 60"/>
                <a:gd name="T40" fmla="*/ 51 w 60"/>
                <a:gd name="T41" fmla="*/ 52 h 60"/>
                <a:gd name="T42" fmla="*/ 56 w 60"/>
                <a:gd name="T43" fmla="*/ 47 h 60"/>
                <a:gd name="T44" fmla="*/ 58 w 60"/>
                <a:gd name="T45" fmla="*/ 42 h 60"/>
                <a:gd name="T46" fmla="*/ 60 w 60"/>
                <a:gd name="T47" fmla="*/ 37 h 60"/>
                <a:gd name="T48" fmla="*/ 60 w 60"/>
                <a:gd name="T49" fmla="*/ 30 h 60"/>
                <a:gd name="T50" fmla="*/ 60 w 60"/>
                <a:gd name="T51" fmla="*/ 24 h 60"/>
                <a:gd name="T52" fmla="*/ 58 w 60"/>
                <a:gd name="T53" fmla="*/ 18 h 60"/>
                <a:gd name="T54" fmla="*/ 56 w 60"/>
                <a:gd name="T55" fmla="*/ 13 h 60"/>
                <a:gd name="T56" fmla="*/ 51 w 60"/>
                <a:gd name="T57" fmla="*/ 9 h 60"/>
                <a:gd name="T58" fmla="*/ 47 w 60"/>
                <a:gd name="T59" fmla="*/ 6 h 60"/>
                <a:gd name="T60" fmla="*/ 42 w 60"/>
                <a:gd name="T61" fmla="*/ 2 h 60"/>
                <a:gd name="T62" fmla="*/ 36 w 60"/>
                <a:gd name="T63" fmla="*/ 1 h 60"/>
                <a:gd name="T64" fmla="*/ 30 w 60"/>
                <a:gd name="T65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60" h="60">
                  <a:moveTo>
                    <a:pt x="30" y="0"/>
                  </a:moveTo>
                  <a:lnTo>
                    <a:pt x="25" y="1"/>
                  </a:lnTo>
                  <a:lnTo>
                    <a:pt x="18" y="2"/>
                  </a:lnTo>
                  <a:lnTo>
                    <a:pt x="14" y="6"/>
                  </a:lnTo>
                  <a:lnTo>
                    <a:pt x="9" y="9"/>
                  </a:lnTo>
                  <a:lnTo>
                    <a:pt x="5" y="13"/>
                  </a:lnTo>
                  <a:lnTo>
                    <a:pt x="2" y="18"/>
                  </a:lnTo>
                  <a:lnTo>
                    <a:pt x="1" y="24"/>
                  </a:lnTo>
                  <a:lnTo>
                    <a:pt x="0" y="30"/>
                  </a:lnTo>
                  <a:lnTo>
                    <a:pt x="1" y="37"/>
                  </a:lnTo>
                  <a:lnTo>
                    <a:pt x="2" y="42"/>
                  </a:lnTo>
                  <a:lnTo>
                    <a:pt x="5" y="47"/>
                  </a:lnTo>
                  <a:lnTo>
                    <a:pt x="9" y="52"/>
                  </a:lnTo>
                  <a:lnTo>
                    <a:pt x="14" y="55"/>
                  </a:lnTo>
                  <a:lnTo>
                    <a:pt x="18" y="58"/>
                  </a:lnTo>
                  <a:lnTo>
                    <a:pt x="25" y="60"/>
                  </a:lnTo>
                  <a:lnTo>
                    <a:pt x="30" y="60"/>
                  </a:lnTo>
                  <a:lnTo>
                    <a:pt x="36" y="60"/>
                  </a:lnTo>
                  <a:lnTo>
                    <a:pt x="42" y="58"/>
                  </a:lnTo>
                  <a:lnTo>
                    <a:pt x="47" y="55"/>
                  </a:lnTo>
                  <a:lnTo>
                    <a:pt x="51" y="52"/>
                  </a:lnTo>
                  <a:lnTo>
                    <a:pt x="56" y="47"/>
                  </a:lnTo>
                  <a:lnTo>
                    <a:pt x="58" y="42"/>
                  </a:lnTo>
                  <a:lnTo>
                    <a:pt x="60" y="37"/>
                  </a:lnTo>
                  <a:lnTo>
                    <a:pt x="60" y="30"/>
                  </a:lnTo>
                  <a:lnTo>
                    <a:pt x="60" y="24"/>
                  </a:lnTo>
                  <a:lnTo>
                    <a:pt x="58" y="18"/>
                  </a:lnTo>
                  <a:lnTo>
                    <a:pt x="56" y="13"/>
                  </a:lnTo>
                  <a:lnTo>
                    <a:pt x="51" y="9"/>
                  </a:lnTo>
                  <a:lnTo>
                    <a:pt x="47" y="6"/>
                  </a:lnTo>
                  <a:lnTo>
                    <a:pt x="42" y="2"/>
                  </a:lnTo>
                  <a:lnTo>
                    <a:pt x="36" y="1"/>
                  </a:lnTo>
                  <a:lnTo>
                    <a:pt x="3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" name="Rectangle 256">
              <a:extLst>
                <a:ext uri="{FF2B5EF4-FFF2-40B4-BE49-F238E27FC236}">
                  <a16:creationId xmlns:a16="http://schemas.microsoft.com/office/drawing/2014/main" id="{5D4B0D93-90E2-47DF-9E62-0B8AA1EB463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772900" y="3233738"/>
              <a:ext cx="9525" cy="95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6" name="Rectangle 257">
              <a:extLst>
                <a:ext uri="{FF2B5EF4-FFF2-40B4-BE49-F238E27FC236}">
                  <a16:creationId xmlns:a16="http://schemas.microsoft.com/office/drawing/2014/main" id="{DD921542-44DE-45AD-B9BC-589FF447AA3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791950" y="3233738"/>
              <a:ext cx="9525" cy="95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7" name="Rectangle 258">
              <a:extLst>
                <a:ext uri="{FF2B5EF4-FFF2-40B4-BE49-F238E27FC236}">
                  <a16:creationId xmlns:a16="http://schemas.microsoft.com/office/drawing/2014/main" id="{4A5057C4-6FEB-476C-8CAB-393DB92D15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811000" y="3233738"/>
              <a:ext cx="9525" cy="95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8" name="Rectangle 259">
              <a:extLst>
                <a:ext uri="{FF2B5EF4-FFF2-40B4-BE49-F238E27FC236}">
                  <a16:creationId xmlns:a16="http://schemas.microsoft.com/office/drawing/2014/main" id="{DD7D972B-9D19-46BF-A7E3-44C169CA251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772900" y="3252788"/>
              <a:ext cx="9525" cy="95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9" name="Rectangle 260">
              <a:extLst>
                <a:ext uri="{FF2B5EF4-FFF2-40B4-BE49-F238E27FC236}">
                  <a16:creationId xmlns:a16="http://schemas.microsoft.com/office/drawing/2014/main" id="{82E65740-EBAC-45F3-A613-EE4739F4841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791950" y="3252788"/>
              <a:ext cx="9525" cy="95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0" name="Rectangle 261">
              <a:extLst>
                <a:ext uri="{FF2B5EF4-FFF2-40B4-BE49-F238E27FC236}">
                  <a16:creationId xmlns:a16="http://schemas.microsoft.com/office/drawing/2014/main" id="{F1CFD423-5C26-4462-A136-E0AA3878480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811000" y="3252788"/>
              <a:ext cx="9525" cy="95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" name="Rectangle 262">
              <a:extLst>
                <a:ext uri="{FF2B5EF4-FFF2-40B4-BE49-F238E27FC236}">
                  <a16:creationId xmlns:a16="http://schemas.microsoft.com/office/drawing/2014/main" id="{6F072582-A926-478C-9248-126B85D328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772900" y="3271838"/>
              <a:ext cx="9525" cy="95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" name="Rectangle 263">
              <a:extLst>
                <a:ext uri="{FF2B5EF4-FFF2-40B4-BE49-F238E27FC236}">
                  <a16:creationId xmlns:a16="http://schemas.microsoft.com/office/drawing/2014/main" id="{D2A614C7-D82B-4FEC-A829-8ACA31CC7DD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791950" y="3271838"/>
              <a:ext cx="9525" cy="95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3" name="Rectangle 264">
              <a:extLst>
                <a:ext uri="{FF2B5EF4-FFF2-40B4-BE49-F238E27FC236}">
                  <a16:creationId xmlns:a16="http://schemas.microsoft.com/office/drawing/2014/main" id="{AD8F83AD-3BC5-4F1A-A1BE-D97AA01304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811000" y="3271838"/>
              <a:ext cx="9525" cy="95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34" name="Freeform 329">
            <a:extLst>
              <a:ext uri="{FF2B5EF4-FFF2-40B4-BE49-F238E27FC236}">
                <a16:creationId xmlns:a16="http://schemas.microsoft.com/office/drawing/2014/main" id="{90D1B450-210E-4B04-BEAC-DFD829D70DAD}"/>
              </a:ext>
            </a:extLst>
          </p:cNvPr>
          <p:cNvSpPr>
            <a:spLocks noEditPoints="1"/>
          </p:cNvSpPr>
          <p:nvPr/>
        </p:nvSpPr>
        <p:spPr bwMode="auto">
          <a:xfrm>
            <a:off x="5913655" y="3522215"/>
            <a:ext cx="753044" cy="732008"/>
          </a:xfrm>
          <a:custGeom>
            <a:avLst/>
            <a:gdLst>
              <a:gd name="T0" fmla="*/ 867 w 896"/>
              <a:gd name="T1" fmla="*/ 271 h 869"/>
              <a:gd name="T2" fmla="*/ 598 w 896"/>
              <a:gd name="T3" fmla="*/ 421 h 869"/>
              <a:gd name="T4" fmla="*/ 298 w 896"/>
              <a:gd name="T5" fmla="*/ 421 h 869"/>
              <a:gd name="T6" fmla="*/ 30 w 896"/>
              <a:gd name="T7" fmla="*/ 271 h 869"/>
              <a:gd name="T8" fmla="*/ 30 w 896"/>
              <a:gd name="T9" fmla="*/ 271 h 869"/>
              <a:gd name="T10" fmla="*/ 262 w 896"/>
              <a:gd name="T11" fmla="*/ 39 h 869"/>
              <a:gd name="T12" fmla="*/ 292 w 896"/>
              <a:gd name="T13" fmla="*/ 30 h 869"/>
              <a:gd name="T14" fmla="*/ 323 w 896"/>
              <a:gd name="T15" fmla="*/ 33 h 869"/>
              <a:gd name="T16" fmla="*/ 350 w 896"/>
              <a:gd name="T17" fmla="*/ 47 h 869"/>
              <a:gd name="T18" fmla="*/ 370 w 896"/>
              <a:gd name="T19" fmla="*/ 74 h 869"/>
              <a:gd name="T20" fmla="*/ 403 w 896"/>
              <a:gd name="T21" fmla="*/ 159 h 869"/>
              <a:gd name="T22" fmla="*/ 402 w 896"/>
              <a:gd name="T23" fmla="*/ 228 h 869"/>
              <a:gd name="T24" fmla="*/ 296 w 896"/>
              <a:gd name="T25" fmla="*/ 194 h 869"/>
              <a:gd name="T26" fmla="*/ 249 w 896"/>
              <a:gd name="T27" fmla="*/ 170 h 869"/>
              <a:gd name="T28" fmla="*/ 230 w 896"/>
              <a:gd name="T29" fmla="*/ 146 h 869"/>
              <a:gd name="T30" fmla="*/ 221 w 896"/>
              <a:gd name="T31" fmla="*/ 117 h 869"/>
              <a:gd name="T32" fmla="*/ 224 w 896"/>
              <a:gd name="T33" fmla="*/ 87 h 869"/>
              <a:gd name="T34" fmla="*/ 239 w 896"/>
              <a:gd name="T35" fmla="*/ 59 h 869"/>
              <a:gd name="T36" fmla="*/ 543 w 896"/>
              <a:gd name="T37" fmla="*/ 47 h 869"/>
              <a:gd name="T38" fmla="*/ 570 w 896"/>
              <a:gd name="T39" fmla="*/ 33 h 869"/>
              <a:gd name="T40" fmla="*/ 601 w 896"/>
              <a:gd name="T41" fmla="*/ 30 h 869"/>
              <a:gd name="T42" fmla="*/ 631 w 896"/>
              <a:gd name="T43" fmla="*/ 39 h 869"/>
              <a:gd name="T44" fmla="*/ 654 w 896"/>
              <a:gd name="T45" fmla="*/ 59 h 869"/>
              <a:gd name="T46" fmla="*/ 669 w 896"/>
              <a:gd name="T47" fmla="*/ 87 h 869"/>
              <a:gd name="T48" fmla="*/ 672 w 896"/>
              <a:gd name="T49" fmla="*/ 117 h 869"/>
              <a:gd name="T50" fmla="*/ 663 w 896"/>
              <a:gd name="T51" fmla="*/ 146 h 869"/>
              <a:gd name="T52" fmla="*/ 644 w 896"/>
              <a:gd name="T53" fmla="*/ 169 h 869"/>
              <a:gd name="T54" fmla="*/ 597 w 896"/>
              <a:gd name="T55" fmla="*/ 194 h 869"/>
              <a:gd name="T56" fmla="*/ 491 w 896"/>
              <a:gd name="T57" fmla="*/ 228 h 869"/>
              <a:gd name="T58" fmla="*/ 490 w 896"/>
              <a:gd name="T59" fmla="*/ 159 h 869"/>
              <a:gd name="T60" fmla="*/ 523 w 896"/>
              <a:gd name="T61" fmla="*/ 74 h 869"/>
              <a:gd name="T62" fmla="*/ 537 w 896"/>
              <a:gd name="T63" fmla="*/ 53 h 869"/>
              <a:gd name="T64" fmla="*/ 328 w 896"/>
              <a:gd name="T65" fmla="*/ 421 h 869"/>
              <a:gd name="T66" fmla="*/ 568 w 896"/>
              <a:gd name="T67" fmla="*/ 271 h 869"/>
              <a:gd name="T68" fmla="*/ 554 w 896"/>
              <a:gd name="T69" fmla="*/ 241 h 869"/>
              <a:gd name="T70" fmla="*/ 650 w 896"/>
              <a:gd name="T71" fmla="*/ 201 h 869"/>
              <a:gd name="T72" fmla="*/ 684 w 896"/>
              <a:gd name="T73" fmla="*/ 169 h 869"/>
              <a:gd name="T74" fmla="*/ 700 w 896"/>
              <a:gd name="T75" fmla="*/ 130 h 869"/>
              <a:gd name="T76" fmla="*/ 700 w 896"/>
              <a:gd name="T77" fmla="*/ 88 h 869"/>
              <a:gd name="T78" fmla="*/ 684 w 896"/>
              <a:gd name="T79" fmla="*/ 50 h 869"/>
              <a:gd name="T80" fmla="*/ 653 w 896"/>
              <a:gd name="T81" fmla="*/ 18 h 869"/>
              <a:gd name="T82" fmla="*/ 615 w 896"/>
              <a:gd name="T83" fmla="*/ 2 h 869"/>
              <a:gd name="T84" fmla="*/ 572 w 896"/>
              <a:gd name="T85" fmla="*/ 2 h 869"/>
              <a:gd name="T86" fmla="*/ 533 w 896"/>
              <a:gd name="T87" fmla="*/ 18 h 869"/>
              <a:gd name="T88" fmla="*/ 506 w 896"/>
              <a:gd name="T89" fmla="*/ 44 h 869"/>
              <a:gd name="T90" fmla="*/ 477 w 896"/>
              <a:gd name="T91" fmla="*/ 103 h 869"/>
              <a:gd name="T92" fmla="*/ 447 w 896"/>
              <a:gd name="T93" fmla="*/ 198 h 869"/>
              <a:gd name="T94" fmla="*/ 416 w 896"/>
              <a:gd name="T95" fmla="*/ 103 h 869"/>
              <a:gd name="T96" fmla="*/ 387 w 896"/>
              <a:gd name="T97" fmla="*/ 44 h 869"/>
              <a:gd name="T98" fmla="*/ 360 w 896"/>
              <a:gd name="T99" fmla="*/ 18 h 869"/>
              <a:gd name="T100" fmla="*/ 321 w 896"/>
              <a:gd name="T101" fmla="*/ 2 h 869"/>
              <a:gd name="T102" fmla="*/ 278 w 896"/>
              <a:gd name="T103" fmla="*/ 2 h 869"/>
              <a:gd name="T104" fmla="*/ 240 w 896"/>
              <a:gd name="T105" fmla="*/ 18 h 869"/>
              <a:gd name="T106" fmla="*/ 209 w 896"/>
              <a:gd name="T107" fmla="*/ 50 h 869"/>
              <a:gd name="T108" fmla="*/ 193 w 896"/>
              <a:gd name="T109" fmla="*/ 88 h 869"/>
              <a:gd name="T110" fmla="*/ 193 w 896"/>
              <a:gd name="T111" fmla="*/ 130 h 869"/>
              <a:gd name="T112" fmla="*/ 209 w 896"/>
              <a:gd name="T113" fmla="*/ 169 h 869"/>
              <a:gd name="T114" fmla="*/ 243 w 896"/>
              <a:gd name="T115" fmla="*/ 201 h 869"/>
              <a:gd name="T116" fmla="*/ 339 w 896"/>
              <a:gd name="T117" fmla="*/ 241 h 869"/>
              <a:gd name="T118" fmla="*/ 30 w 896"/>
              <a:gd name="T119" fmla="*/ 869 h 869"/>
              <a:gd name="T120" fmla="*/ 896 w 896"/>
              <a:gd name="T121" fmla="*/ 241 h 8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896" h="869">
                <a:moveTo>
                  <a:pt x="867" y="391"/>
                </a:moveTo>
                <a:lnTo>
                  <a:pt x="598" y="391"/>
                </a:lnTo>
                <a:lnTo>
                  <a:pt x="598" y="271"/>
                </a:lnTo>
                <a:lnTo>
                  <a:pt x="867" y="271"/>
                </a:lnTo>
                <a:lnTo>
                  <a:pt x="867" y="391"/>
                </a:lnTo>
                <a:close/>
                <a:moveTo>
                  <a:pt x="837" y="839"/>
                </a:moveTo>
                <a:lnTo>
                  <a:pt x="598" y="839"/>
                </a:lnTo>
                <a:lnTo>
                  <a:pt x="598" y="421"/>
                </a:lnTo>
                <a:lnTo>
                  <a:pt x="837" y="421"/>
                </a:lnTo>
                <a:lnTo>
                  <a:pt x="837" y="839"/>
                </a:lnTo>
                <a:close/>
                <a:moveTo>
                  <a:pt x="60" y="421"/>
                </a:moveTo>
                <a:lnTo>
                  <a:pt x="298" y="421"/>
                </a:lnTo>
                <a:lnTo>
                  <a:pt x="298" y="839"/>
                </a:lnTo>
                <a:lnTo>
                  <a:pt x="60" y="839"/>
                </a:lnTo>
                <a:lnTo>
                  <a:pt x="60" y="421"/>
                </a:lnTo>
                <a:close/>
                <a:moveTo>
                  <a:pt x="30" y="271"/>
                </a:moveTo>
                <a:lnTo>
                  <a:pt x="298" y="271"/>
                </a:lnTo>
                <a:lnTo>
                  <a:pt x="298" y="391"/>
                </a:lnTo>
                <a:lnTo>
                  <a:pt x="30" y="391"/>
                </a:lnTo>
                <a:lnTo>
                  <a:pt x="30" y="271"/>
                </a:lnTo>
                <a:close/>
                <a:moveTo>
                  <a:pt x="244" y="53"/>
                </a:moveTo>
                <a:lnTo>
                  <a:pt x="249" y="47"/>
                </a:lnTo>
                <a:lnTo>
                  <a:pt x="256" y="43"/>
                </a:lnTo>
                <a:lnTo>
                  <a:pt x="262" y="39"/>
                </a:lnTo>
                <a:lnTo>
                  <a:pt x="270" y="36"/>
                </a:lnTo>
                <a:lnTo>
                  <a:pt x="277" y="33"/>
                </a:lnTo>
                <a:lnTo>
                  <a:pt x="284" y="31"/>
                </a:lnTo>
                <a:lnTo>
                  <a:pt x="292" y="30"/>
                </a:lnTo>
                <a:lnTo>
                  <a:pt x="299" y="30"/>
                </a:lnTo>
                <a:lnTo>
                  <a:pt x="308" y="30"/>
                </a:lnTo>
                <a:lnTo>
                  <a:pt x="316" y="31"/>
                </a:lnTo>
                <a:lnTo>
                  <a:pt x="323" y="33"/>
                </a:lnTo>
                <a:lnTo>
                  <a:pt x="330" y="36"/>
                </a:lnTo>
                <a:lnTo>
                  <a:pt x="337" y="39"/>
                </a:lnTo>
                <a:lnTo>
                  <a:pt x="344" y="43"/>
                </a:lnTo>
                <a:lnTo>
                  <a:pt x="350" y="47"/>
                </a:lnTo>
                <a:lnTo>
                  <a:pt x="356" y="53"/>
                </a:lnTo>
                <a:lnTo>
                  <a:pt x="360" y="58"/>
                </a:lnTo>
                <a:lnTo>
                  <a:pt x="365" y="66"/>
                </a:lnTo>
                <a:lnTo>
                  <a:pt x="370" y="74"/>
                </a:lnTo>
                <a:lnTo>
                  <a:pt x="374" y="84"/>
                </a:lnTo>
                <a:lnTo>
                  <a:pt x="384" y="106"/>
                </a:lnTo>
                <a:lnTo>
                  <a:pt x="394" y="131"/>
                </a:lnTo>
                <a:lnTo>
                  <a:pt x="403" y="159"/>
                </a:lnTo>
                <a:lnTo>
                  <a:pt x="412" y="185"/>
                </a:lnTo>
                <a:lnTo>
                  <a:pt x="419" y="212"/>
                </a:lnTo>
                <a:lnTo>
                  <a:pt x="426" y="236"/>
                </a:lnTo>
                <a:lnTo>
                  <a:pt x="402" y="228"/>
                </a:lnTo>
                <a:lnTo>
                  <a:pt x="376" y="221"/>
                </a:lnTo>
                <a:lnTo>
                  <a:pt x="349" y="212"/>
                </a:lnTo>
                <a:lnTo>
                  <a:pt x="322" y="204"/>
                </a:lnTo>
                <a:lnTo>
                  <a:pt x="296" y="194"/>
                </a:lnTo>
                <a:lnTo>
                  <a:pt x="274" y="184"/>
                </a:lnTo>
                <a:lnTo>
                  <a:pt x="264" y="179"/>
                </a:lnTo>
                <a:lnTo>
                  <a:pt x="256" y="175"/>
                </a:lnTo>
                <a:lnTo>
                  <a:pt x="249" y="170"/>
                </a:lnTo>
                <a:lnTo>
                  <a:pt x="244" y="165"/>
                </a:lnTo>
                <a:lnTo>
                  <a:pt x="239" y="160"/>
                </a:lnTo>
                <a:lnTo>
                  <a:pt x="233" y="153"/>
                </a:lnTo>
                <a:lnTo>
                  <a:pt x="230" y="146"/>
                </a:lnTo>
                <a:lnTo>
                  <a:pt x="227" y="139"/>
                </a:lnTo>
                <a:lnTo>
                  <a:pt x="224" y="132"/>
                </a:lnTo>
                <a:lnTo>
                  <a:pt x="222" y="124"/>
                </a:lnTo>
                <a:lnTo>
                  <a:pt x="221" y="117"/>
                </a:lnTo>
                <a:lnTo>
                  <a:pt x="220" y="109"/>
                </a:lnTo>
                <a:lnTo>
                  <a:pt x="221" y="102"/>
                </a:lnTo>
                <a:lnTo>
                  <a:pt x="222" y="94"/>
                </a:lnTo>
                <a:lnTo>
                  <a:pt x="224" y="87"/>
                </a:lnTo>
                <a:lnTo>
                  <a:pt x="227" y="79"/>
                </a:lnTo>
                <a:lnTo>
                  <a:pt x="230" y="72"/>
                </a:lnTo>
                <a:lnTo>
                  <a:pt x="233" y="66"/>
                </a:lnTo>
                <a:lnTo>
                  <a:pt x="239" y="59"/>
                </a:lnTo>
                <a:lnTo>
                  <a:pt x="244" y="53"/>
                </a:lnTo>
                <a:lnTo>
                  <a:pt x="244" y="53"/>
                </a:lnTo>
                <a:close/>
                <a:moveTo>
                  <a:pt x="537" y="53"/>
                </a:moveTo>
                <a:lnTo>
                  <a:pt x="543" y="47"/>
                </a:lnTo>
                <a:lnTo>
                  <a:pt x="550" y="43"/>
                </a:lnTo>
                <a:lnTo>
                  <a:pt x="556" y="39"/>
                </a:lnTo>
                <a:lnTo>
                  <a:pt x="563" y="36"/>
                </a:lnTo>
                <a:lnTo>
                  <a:pt x="570" y="33"/>
                </a:lnTo>
                <a:lnTo>
                  <a:pt x="578" y="31"/>
                </a:lnTo>
                <a:lnTo>
                  <a:pt x="585" y="30"/>
                </a:lnTo>
                <a:lnTo>
                  <a:pt x="594" y="30"/>
                </a:lnTo>
                <a:lnTo>
                  <a:pt x="601" y="30"/>
                </a:lnTo>
                <a:lnTo>
                  <a:pt x="609" y="31"/>
                </a:lnTo>
                <a:lnTo>
                  <a:pt x="616" y="33"/>
                </a:lnTo>
                <a:lnTo>
                  <a:pt x="623" y="36"/>
                </a:lnTo>
                <a:lnTo>
                  <a:pt x="631" y="39"/>
                </a:lnTo>
                <a:lnTo>
                  <a:pt x="637" y="43"/>
                </a:lnTo>
                <a:lnTo>
                  <a:pt x="644" y="47"/>
                </a:lnTo>
                <a:lnTo>
                  <a:pt x="649" y="53"/>
                </a:lnTo>
                <a:lnTo>
                  <a:pt x="654" y="59"/>
                </a:lnTo>
                <a:lnTo>
                  <a:pt x="660" y="66"/>
                </a:lnTo>
                <a:lnTo>
                  <a:pt x="663" y="72"/>
                </a:lnTo>
                <a:lnTo>
                  <a:pt x="666" y="79"/>
                </a:lnTo>
                <a:lnTo>
                  <a:pt x="669" y="87"/>
                </a:lnTo>
                <a:lnTo>
                  <a:pt x="671" y="94"/>
                </a:lnTo>
                <a:lnTo>
                  <a:pt x="672" y="102"/>
                </a:lnTo>
                <a:lnTo>
                  <a:pt x="673" y="109"/>
                </a:lnTo>
                <a:lnTo>
                  <a:pt x="672" y="117"/>
                </a:lnTo>
                <a:lnTo>
                  <a:pt x="671" y="124"/>
                </a:lnTo>
                <a:lnTo>
                  <a:pt x="669" y="132"/>
                </a:lnTo>
                <a:lnTo>
                  <a:pt x="666" y="139"/>
                </a:lnTo>
                <a:lnTo>
                  <a:pt x="663" y="146"/>
                </a:lnTo>
                <a:lnTo>
                  <a:pt x="660" y="153"/>
                </a:lnTo>
                <a:lnTo>
                  <a:pt x="654" y="160"/>
                </a:lnTo>
                <a:lnTo>
                  <a:pt x="649" y="165"/>
                </a:lnTo>
                <a:lnTo>
                  <a:pt x="644" y="169"/>
                </a:lnTo>
                <a:lnTo>
                  <a:pt x="637" y="175"/>
                </a:lnTo>
                <a:lnTo>
                  <a:pt x="629" y="179"/>
                </a:lnTo>
                <a:lnTo>
                  <a:pt x="619" y="184"/>
                </a:lnTo>
                <a:lnTo>
                  <a:pt x="597" y="194"/>
                </a:lnTo>
                <a:lnTo>
                  <a:pt x="571" y="204"/>
                </a:lnTo>
                <a:lnTo>
                  <a:pt x="544" y="212"/>
                </a:lnTo>
                <a:lnTo>
                  <a:pt x="517" y="221"/>
                </a:lnTo>
                <a:lnTo>
                  <a:pt x="491" y="228"/>
                </a:lnTo>
                <a:lnTo>
                  <a:pt x="467" y="236"/>
                </a:lnTo>
                <a:lnTo>
                  <a:pt x="474" y="212"/>
                </a:lnTo>
                <a:lnTo>
                  <a:pt x="481" y="185"/>
                </a:lnTo>
                <a:lnTo>
                  <a:pt x="490" y="159"/>
                </a:lnTo>
                <a:lnTo>
                  <a:pt x="499" y="131"/>
                </a:lnTo>
                <a:lnTo>
                  <a:pt x="509" y="106"/>
                </a:lnTo>
                <a:lnTo>
                  <a:pt x="519" y="84"/>
                </a:lnTo>
                <a:lnTo>
                  <a:pt x="523" y="74"/>
                </a:lnTo>
                <a:lnTo>
                  <a:pt x="528" y="66"/>
                </a:lnTo>
                <a:lnTo>
                  <a:pt x="533" y="58"/>
                </a:lnTo>
                <a:lnTo>
                  <a:pt x="537" y="53"/>
                </a:lnTo>
                <a:lnTo>
                  <a:pt x="537" y="53"/>
                </a:lnTo>
                <a:close/>
                <a:moveTo>
                  <a:pt x="568" y="421"/>
                </a:moveTo>
                <a:lnTo>
                  <a:pt x="568" y="839"/>
                </a:lnTo>
                <a:lnTo>
                  <a:pt x="328" y="839"/>
                </a:lnTo>
                <a:lnTo>
                  <a:pt x="328" y="421"/>
                </a:lnTo>
                <a:lnTo>
                  <a:pt x="568" y="421"/>
                </a:lnTo>
                <a:close/>
                <a:moveTo>
                  <a:pt x="328" y="391"/>
                </a:moveTo>
                <a:lnTo>
                  <a:pt x="328" y="271"/>
                </a:lnTo>
                <a:lnTo>
                  <a:pt x="568" y="271"/>
                </a:lnTo>
                <a:lnTo>
                  <a:pt x="568" y="391"/>
                </a:lnTo>
                <a:lnTo>
                  <a:pt x="328" y="391"/>
                </a:lnTo>
                <a:close/>
                <a:moveTo>
                  <a:pt x="896" y="241"/>
                </a:moveTo>
                <a:lnTo>
                  <a:pt x="554" y="241"/>
                </a:lnTo>
                <a:lnTo>
                  <a:pt x="589" y="228"/>
                </a:lnTo>
                <a:lnTo>
                  <a:pt x="622" y="215"/>
                </a:lnTo>
                <a:lnTo>
                  <a:pt x="637" y="208"/>
                </a:lnTo>
                <a:lnTo>
                  <a:pt x="650" y="201"/>
                </a:lnTo>
                <a:lnTo>
                  <a:pt x="662" y="194"/>
                </a:lnTo>
                <a:lnTo>
                  <a:pt x="671" y="186"/>
                </a:lnTo>
                <a:lnTo>
                  <a:pt x="678" y="178"/>
                </a:lnTo>
                <a:lnTo>
                  <a:pt x="684" y="169"/>
                </a:lnTo>
                <a:lnTo>
                  <a:pt x="690" y="160"/>
                </a:lnTo>
                <a:lnTo>
                  <a:pt x="694" y="150"/>
                </a:lnTo>
                <a:lnTo>
                  <a:pt x="697" y="140"/>
                </a:lnTo>
                <a:lnTo>
                  <a:pt x="700" y="130"/>
                </a:lnTo>
                <a:lnTo>
                  <a:pt x="702" y="120"/>
                </a:lnTo>
                <a:lnTo>
                  <a:pt x="703" y="109"/>
                </a:lnTo>
                <a:lnTo>
                  <a:pt x="702" y="99"/>
                </a:lnTo>
                <a:lnTo>
                  <a:pt x="700" y="88"/>
                </a:lnTo>
                <a:lnTo>
                  <a:pt x="697" y="78"/>
                </a:lnTo>
                <a:lnTo>
                  <a:pt x="694" y="68"/>
                </a:lnTo>
                <a:lnTo>
                  <a:pt x="690" y="58"/>
                </a:lnTo>
                <a:lnTo>
                  <a:pt x="684" y="50"/>
                </a:lnTo>
                <a:lnTo>
                  <a:pt x="678" y="40"/>
                </a:lnTo>
                <a:lnTo>
                  <a:pt x="671" y="32"/>
                </a:lnTo>
                <a:lnTo>
                  <a:pt x="662" y="25"/>
                </a:lnTo>
                <a:lnTo>
                  <a:pt x="653" y="18"/>
                </a:lnTo>
                <a:lnTo>
                  <a:pt x="645" y="13"/>
                </a:lnTo>
                <a:lnTo>
                  <a:pt x="635" y="8"/>
                </a:lnTo>
                <a:lnTo>
                  <a:pt x="625" y="5"/>
                </a:lnTo>
                <a:lnTo>
                  <a:pt x="615" y="2"/>
                </a:lnTo>
                <a:lnTo>
                  <a:pt x="604" y="0"/>
                </a:lnTo>
                <a:lnTo>
                  <a:pt x="594" y="0"/>
                </a:lnTo>
                <a:lnTo>
                  <a:pt x="582" y="0"/>
                </a:lnTo>
                <a:lnTo>
                  <a:pt x="572" y="2"/>
                </a:lnTo>
                <a:lnTo>
                  <a:pt x="561" y="5"/>
                </a:lnTo>
                <a:lnTo>
                  <a:pt x="552" y="8"/>
                </a:lnTo>
                <a:lnTo>
                  <a:pt x="542" y="13"/>
                </a:lnTo>
                <a:lnTo>
                  <a:pt x="533" y="18"/>
                </a:lnTo>
                <a:lnTo>
                  <a:pt x="524" y="25"/>
                </a:lnTo>
                <a:lnTo>
                  <a:pt x="515" y="32"/>
                </a:lnTo>
                <a:lnTo>
                  <a:pt x="511" y="38"/>
                </a:lnTo>
                <a:lnTo>
                  <a:pt x="506" y="44"/>
                </a:lnTo>
                <a:lnTo>
                  <a:pt x="502" y="52"/>
                </a:lnTo>
                <a:lnTo>
                  <a:pt x="496" y="61"/>
                </a:lnTo>
                <a:lnTo>
                  <a:pt x="487" y="81"/>
                </a:lnTo>
                <a:lnTo>
                  <a:pt x="477" y="103"/>
                </a:lnTo>
                <a:lnTo>
                  <a:pt x="468" y="128"/>
                </a:lnTo>
                <a:lnTo>
                  <a:pt x="461" y="152"/>
                </a:lnTo>
                <a:lnTo>
                  <a:pt x="453" y="176"/>
                </a:lnTo>
                <a:lnTo>
                  <a:pt x="447" y="198"/>
                </a:lnTo>
                <a:lnTo>
                  <a:pt x="440" y="176"/>
                </a:lnTo>
                <a:lnTo>
                  <a:pt x="432" y="152"/>
                </a:lnTo>
                <a:lnTo>
                  <a:pt x="425" y="128"/>
                </a:lnTo>
                <a:lnTo>
                  <a:pt x="416" y="103"/>
                </a:lnTo>
                <a:lnTo>
                  <a:pt x="406" y="81"/>
                </a:lnTo>
                <a:lnTo>
                  <a:pt x="397" y="61"/>
                </a:lnTo>
                <a:lnTo>
                  <a:pt x="391" y="52"/>
                </a:lnTo>
                <a:lnTo>
                  <a:pt x="387" y="44"/>
                </a:lnTo>
                <a:lnTo>
                  <a:pt x="382" y="38"/>
                </a:lnTo>
                <a:lnTo>
                  <a:pt x="378" y="32"/>
                </a:lnTo>
                <a:lnTo>
                  <a:pt x="369" y="25"/>
                </a:lnTo>
                <a:lnTo>
                  <a:pt x="360" y="18"/>
                </a:lnTo>
                <a:lnTo>
                  <a:pt x="351" y="13"/>
                </a:lnTo>
                <a:lnTo>
                  <a:pt x="342" y="8"/>
                </a:lnTo>
                <a:lnTo>
                  <a:pt x="332" y="5"/>
                </a:lnTo>
                <a:lnTo>
                  <a:pt x="321" y="2"/>
                </a:lnTo>
                <a:lnTo>
                  <a:pt x="311" y="0"/>
                </a:lnTo>
                <a:lnTo>
                  <a:pt x="299" y="0"/>
                </a:lnTo>
                <a:lnTo>
                  <a:pt x="289" y="0"/>
                </a:lnTo>
                <a:lnTo>
                  <a:pt x="278" y="2"/>
                </a:lnTo>
                <a:lnTo>
                  <a:pt x="268" y="5"/>
                </a:lnTo>
                <a:lnTo>
                  <a:pt x="258" y="8"/>
                </a:lnTo>
                <a:lnTo>
                  <a:pt x="248" y="13"/>
                </a:lnTo>
                <a:lnTo>
                  <a:pt x="240" y="18"/>
                </a:lnTo>
                <a:lnTo>
                  <a:pt x="231" y="25"/>
                </a:lnTo>
                <a:lnTo>
                  <a:pt x="222" y="32"/>
                </a:lnTo>
                <a:lnTo>
                  <a:pt x="215" y="40"/>
                </a:lnTo>
                <a:lnTo>
                  <a:pt x="209" y="50"/>
                </a:lnTo>
                <a:lnTo>
                  <a:pt x="203" y="58"/>
                </a:lnTo>
                <a:lnTo>
                  <a:pt x="199" y="68"/>
                </a:lnTo>
                <a:lnTo>
                  <a:pt x="196" y="78"/>
                </a:lnTo>
                <a:lnTo>
                  <a:pt x="193" y="88"/>
                </a:lnTo>
                <a:lnTo>
                  <a:pt x="191" y="99"/>
                </a:lnTo>
                <a:lnTo>
                  <a:pt x="190" y="109"/>
                </a:lnTo>
                <a:lnTo>
                  <a:pt x="191" y="120"/>
                </a:lnTo>
                <a:lnTo>
                  <a:pt x="193" y="130"/>
                </a:lnTo>
                <a:lnTo>
                  <a:pt x="196" y="140"/>
                </a:lnTo>
                <a:lnTo>
                  <a:pt x="199" y="150"/>
                </a:lnTo>
                <a:lnTo>
                  <a:pt x="203" y="160"/>
                </a:lnTo>
                <a:lnTo>
                  <a:pt x="209" y="169"/>
                </a:lnTo>
                <a:lnTo>
                  <a:pt x="215" y="178"/>
                </a:lnTo>
                <a:lnTo>
                  <a:pt x="222" y="186"/>
                </a:lnTo>
                <a:lnTo>
                  <a:pt x="231" y="194"/>
                </a:lnTo>
                <a:lnTo>
                  <a:pt x="243" y="201"/>
                </a:lnTo>
                <a:lnTo>
                  <a:pt x="256" y="208"/>
                </a:lnTo>
                <a:lnTo>
                  <a:pt x="271" y="215"/>
                </a:lnTo>
                <a:lnTo>
                  <a:pt x="304" y="228"/>
                </a:lnTo>
                <a:lnTo>
                  <a:pt x="339" y="241"/>
                </a:lnTo>
                <a:lnTo>
                  <a:pt x="0" y="241"/>
                </a:lnTo>
                <a:lnTo>
                  <a:pt x="0" y="421"/>
                </a:lnTo>
                <a:lnTo>
                  <a:pt x="30" y="421"/>
                </a:lnTo>
                <a:lnTo>
                  <a:pt x="30" y="869"/>
                </a:lnTo>
                <a:lnTo>
                  <a:pt x="867" y="869"/>
                </a:lnTo>
                <a:lnTo>
                  <a:pt x="867" y="421"/>
                </a:lnTo>
                <a:lnTo>
                  <a:pt x="896" y="421"/>
                </a:lnTo>
                <a:lnTo>
                  <a:pt x="896" y="24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scene3d>
            <a:camera prst="isometricTopUp"/>
            <a:lightRig rig="threePt" dir="t"/>
          </a:scene3d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135" name="Group 134">
            <a:extLst>
              <a:ext uri="{FF2B5EF4-FFF2-40B4-BE49-F238E27FC236}">
                <a16:creationId xmlns:a16="http://schemas.microsoft.com/office/drawing/2014/main" id="{BD254B06-2AAD-40FF-B244-F915734B28AF}"/>
              </a:ext>
            </a:extLst>
          </p:cNvPr>
          <p:cNvGrpSpPr/>
          <p:nvPr/>
        </p:nvGrpSpPr>
        <p:grpSpPr>
          <a:xfrm>
            <a:off x="2474955" y="3509935"/>
            <a:ext cx="756568" cy="756568"/>
            <a:chOff x="1547813" y="4452938"/>
            <a:chExt cx="303213" cy="303213"/>
          </a:xfrm>
          <a:solidFill>
            <a:schemeClr val="bg1"/>
          </a:solidFill>
          <a:scene3d>
            <a:camera prst="isometricTopUp"/>
            <a:lightRig rig="threePt" dir="t"/>
          </a:scene3d>
        </p:grpSpPr>
        <p:sp>
          <p:nvSpPr>
            <p:cNvPr id="136" name="Freeform 136">
              <a:extLst>
                <a:ext uri="{FF2B5EF4-FFF2-40B4-BE49-F238E27FC236}">
                  <a16:creationId xmlns:a16="http://schemas.microsoft.com/office/drawing/2014/main" id="{A4B1124D-1B5D-4B66-B0E0-418667F6BB6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4452938"/>
              <a:ext cx="303213" cy="303213"/>
            </a:xfrm>
            <a:custGeom>
              <a:avLst/>
              <a:gdLst>
                <a:gd name="T0" fmla="*/ 310 w 763"/>
                <a:gd name="T1" fmla="*/ 731 h 764"/>
                <a:gd name="T2" fmla="*/ 228 w 763"/>
                <a:gd name="T3" fmla="*/ 704 h 764"/>
                <a:gd name="T4" fmla="*/ 155 w 763"/>
                <a:gd name="T5" fmla="*/ 657 h 764"/>
                <a:gd name="T6" fmla="*/ 95 w 763"/>
                <a:gd name="T7" fmla="*/ 595 h 764"/>
                <a:gd name="T8" fmla="*/ 54 w 763"/>
                <a:gd name="T9" fmla="*/ 521 h 764"/>
                <a:gd name="T10" fmla="*/ 29 w 763"/>
                <a:gd name="T11" fmla="*/ 436 h 764"/>
                <a:gd name="T12" fmla="*/ 27 w 763"/>
                <a:gd name="T13" fmla="*/ 346 h 764"/>
                <a:gd name="T14" fmla="*/ 47 w 763"/>
                <a:gd name="T15" fmla="*/ 260 h 764"/>
                <a:gd name="T16" fmla="*/ 86 w 763"/>
                <a:gd name="T17" fmla="*/ 183 h 764"/>
                <a:gd name="T18" fmla="*/ 142 w 763"/>
                <a:gd name="T19" fmla="*/ 118 h 764"/>
                <a:gd name="T20" fmla="*/ 211 w 763"/>
                <a:gd name="T21" fmla="*/ 69 h 764"/>
                <a:gd name="T22" fmla="*/ 293 w 763"/>
                <a:gd name="T23" fmla="*/ 37 h 764"/>
                <a:gd name="T24" fmla="*/ 381 w 763"/>
                <a:gd name="T25" fmla="*/ 25 h 764"/>
                <a:gd name="T26" fmla="*/ 470 w 763"/>
                <a:gd name="T27" fmla="*/ 37 h 764"/>
                <a:gd name="T28" fmla="*/ 552 w 763"/>
                <a:gd name="T29" fmla="*/ 69 h 764"/>
                <a:gd name="T30" fmla="*/ 622 w 763"/>
                <a:gd name="T31" fmla="*/ 118 h 764"/>
                <a:gd name="T32" fmla="*/ 677 w 763"/>
                <a:gd name="T33" fmla="*/ 183 h 764"/>
                <a:gd name="T34" fmla="*/ 716 w 763"/>
                <a:gd name="T35" fmla="*/ 260 h 764"/>
                <a:gd name="T36" fmla="*/ 736 w 763"/>
                <a:gd name="T37" fmla="*/ 346 h 764"/>
                <a:gd name="T38" fmla="*/ 734 w 763"/>
                <a:gd name="T39" fmla="*/ 436 h 764"/>
                <a:gd name="T40" fmla="*/ 710 w 763"/>
                <a:gd name="T41" fmla="*/ 521 h 764"/>
                <a:gd name="T42" fmla="*/ 667 w 763"/>
                <a:gd name="T43" fmla="*/ 595 h 764"/>
                <a:gd name="T44" fmla="*/ 609 w 763"/>
                <a:gd name="T45" fmla="*/ 657 h 764"/>
                <a:gd name="T46" fmla="*/ 536 w 763"/>
                <a:gd name="T47" fmla="*/ 704 h 764"/>
                <a:gd name="T48" fmla="*/ 453 w 763"/>
                <a:gd name="T49" fmla="*/ 731 h 764"/>
                <a:gd name="T50" fmla="*/ 381 w 763"/>
                <a:gd name="T51" fmla="*/ 0 h 764"/>
                <a:gd name="T52" fmla="*/ 287 w 763"/>
                <a:gd name="T53" fmla="*/ 12 h 764"/>
                <a:gd name="T54" fmla="*/ 200 w 763"/>
                <a:gd name="T55" fmla="*/ 46 h 764"/>
                <a:gd name="T56" fmla="*/ 124 w 763"/>
                <a:gd name="T57" fmla="*/ 99 h 764"/>
                <a:gd name="T58" fmla="*/ 65 w 763"/>
                <a:gd name="T59" fmla="*/ 169 h 764"/>
                <a:gd name="T60" fmla="*/ 22 w 763"/>
                <a:gd name="T61" fmla="*/ 250 h 764"/>
                <a:gd name="T62" fmla="*/ 2 w 763"/>
                <a:gd name="T63" fmla="*/ 343 h 764"/>
                <a:gd name="T64" fmla="*/ 4 w 763"/>
                <a:gd name="T65" fmla="*/ 440 h 764"/>
                <a:gd name="T66" fmla="*/ 30 w 763"/>
                <a:gd name="T67" fmla="*/ 531 h 764"/>
                <a:gd name="T68" fmla="*/ 75 w 763"/>
                <a:gd name="T69" fmla="*/ 610 h 764"/>
                <a:gd name="T70" fmla="*/ 138 w 763"/>
                <a:gd name="T71" fmla="*/ 677 h 764"/>
                <a:gd name="T72" fmla="*/ 216 w 763"/>
                <a:gd name="T73" fmla="*/ 726 h 764"/>
                <a:gd name="T74" fmla="*/ 305 w 763"/>
                <a:gd name="T75" fmla="*/ 756 h 764"/>
                <a:gd name="T76" fmla="*/ 401 w 763"/>
                <a:gd name="T77" fmla="*/ 764 h 764"/>
                <a:gd name="T78" fmla="*/ 495 w 763"/>
                <a:gd name="T79" fmla="*/ 747 h 764"/>
                <a:gd name="T80" fmla="*/ 580 w 763"/>
                <a:gd name="T81" fmla="*/ 709 h 764"/>
                <a:gd name="T82" fmla="*/ 652 w 763"/>
                <a:gd name="T83" fmla="*/ 652 h 764"/>
                <a:gd name="T84" fmla="*/ 709 w 763"/>
                <a:gd name="T85" fmla="*/ 580 h 764"/>
                <a:gd name="T86" fmla="*/ 746 w 763"/>
                <a:gd name="T87" fmla="*/ 495 h 764"/>
                <a:gd name="T88" fmla="*/ 763 w 763"/>
                <a:gd name="T89" fmla="*/ 402 h 764"/>
                <a:gd name="T90" fmla="*/ 756 w 763"/>
                <a:gd name="T91" fmla="*/ 305 h 764"/>
                <a:gd name="T92" fmla="*/ 726 w 763"/>
                <a:gd name="T93" fmla="*/ 217 h 764"/>
                <a:gd name="T94" fmla="*/ 676 w 763"/>
                <a:gd name="T95" fmla="*/ 139 h 764"/>
                <a:gd name="T96" fmla="*/ 610 w 763"/>
                <a:gd name="T97" fmla="*/ 76 h 764"/>
                <a:gd name="T98" fmla="*/ 530 w 763"/>
                <a:gd name="T99" fmla="*/ 30 h 764"/>
                <a:gd name="T100" fmla="*/ 440 w 763"/>
                <a:gd name="T101" fmla="*/ 5 h 7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763" h="764">
                  <a:moveTo>
                    <a:pt x="381" y="738"/>
                  </a:moveTo>
                  <a:lnTo>
                    <a:pt x="363" y="738"/>
                  </a:lnTo>
                  <a:lnTo>
                    <a:pt x="346" y="737"/>
                  </a:lnTo>
                  <a:lnTo>
                    <a:pt x="327" y="735"/>
                  </a:lnTo>
                  <a:lnTo>
                    <a:pt x="310" y="731"/>
                  </a:lnTo>
                  <a:lnTo>
                    <a:pt x="293" y="727"/>
                  </a:lnTo>
                  <a:lnTo>
                    <a:pt x="276" y="723"/>
                  </a:lnTo>
                  <a:lnTo>
                    <a:pt x="259" y="716"/>
                  </a:lnTo>
                  <a:lnTo>
                    <a:pt x="243" y="710"/>
                  </a:lnTo>
                  <a:lnTo>
                    <a:pt x="228" y="704"/>
                  </a:lnTo>
                  <a:lnTo>
                    <a:pt x="211" y="695"/>
                  </a:lnTo>
                  <a:lnTo>
                    <a:pt x="196" y="686"/>
                  </a:lnTo>
                  <a:lnTo>
                    <a:pt x="182" y="678"/>
                  </a:lnTo>
                  <a:lnTo>
                    <a:pt x="168" y="668"/>
                  </a:lnTo>
                  <a:lnTo>
                    <a:pt x="155" y="657"/>
                  </a:lnTo>
                  <a:lnTo>
                    <a:pt x="142" y="646"/>
                  </a:lnTo>
                  <a:lnTo>
                    <a:pt x="130" y="634"/>
                  </a:lnTo>
                  <a:lnTo>
                    <a:pt x="118" y="622"/>
                  </a:lnTo>
                  <a:lnTo>
                    <a:pt x="106" y="609"/>
                  </a:lnTo>
                  <a:lnTo>
                    <a:pt x="95" y="595"/>
                  </a:lnTo>
                  <a:lnTo>
                    <a:pt x="86" y="581"/>
                  </a:lnTo>
                  <a:lnTo>
                    <a:pt x="77" y="567"/>
                  </a:lnTo>
                  <a:lnTo>
                    <a:pt x="69" y="552"/>
                  </a:lnTo>
                  <a:lnTo>
                    <a:pt x="60" y="537"/>
                  </a:lnTo>
                  <a:lnTo>
                    <a:pt x="54" y="521"/>
                  </a:lnTo>
                  <a:lnTo>
                    <a:pt x="47" y="505"/>
                  </a:lnTo>
                  <a:lnTo>
                    <a:pt x="41" y="488"/>
                  </a:lnTo>
                  <a:lnTo>
                    <a:pt x="36" y="472"/>
                  </a:lnTo>
                  <a:lnTo>
                    <a:pt x="32" y="453"/>
                  </a:lnTo>
                  <a:lnTo>
                    <a:pt x="29" y="436"/>
                  </a:lnTo>
                  <a:lnTo>
                    <a:pt x="27" y="418"/>
                  </a:lnTo>
                  <a:lnTo>
                    <a:pt x="26" y="401"/>
                  </a:lnTo>
                  <a:lnTo>
                    <a:pt x="25" y="381"/>
                  </a:lnTo>
                  <a:lnTo>
                    <a:pt x="26" y="363"/>
                  </a:lnTo>
                  <a:lnTo>
                    <a:pt x="27" y="346"/>
                  </a:lnTo>
                  <a:lnTo>
                    <a:pt x="29" y="328"/>
                  </a:lnTo>
                  <a:lnTo>
                    <a:pt x="32" y="311"/>
                  </a:lnTo>
                  <a:lnTo>
                    <a:pt x="36" y="293"/>
                  </a:lnTo>
                  <a:lnTo>
                    <a:pt x="41" y="276"/>
                  </a:lnTo>
                  <a:lnTo>
                    <a:pt x="47" y="260"/>
                  </a:lnTo>
                  <a:lnTo>
                    <a:pt x="54" y="243"/>
                  </a:lnTo>
                  <a:lnTo>
                    <a:pt x="60" y="228"/>
                  </a:lnTo>
                  <a:lnTo>
                    <a:pt x="69" y="212"/>
                  </a:lnTo>
                  <a:lnTo>
                    <a:pt x="77" y="198"/>
                  </a:lnTo>
                  <a:lnTo>
                    <a:pt x="86" y="183"/>
                  </a:lnTo>
                  <a:lnTo>
                    <a:pt x="95" y="169"/>
                  </a:lnTo>
                  <a:lnTo>
                    <a:pt x="106" y="156"/>
                  </a:lnTo>
                  <a:lnTo>
                    <a:pt x="118" y="142"/>
                  </a:lnTo>
                  <a:lnTo>
                    <a:pt x="130" y="130"/>
                  </a:lnTo>
                  <a:lnTo>
                    <a:pt x="142" y="118"/>
                  </a:lnTo>
                  <a:lnTo>
                    <a:pt x="155" y="107"/>
                  </a:lnTo>
                  <a:lnTo>
                    <a:pt x="168" y="97"/>
                  </a:lnTo>
                  <a:lnTo>
                    <a:pt x="182" y="86"/>
                  </a:lnTo>
                  <a:lnTo>
                    <a:pt x="196" y="78"/>
                  </a:lnTo>
                  <a:lnTo>
                    <a:pt x="211" y="69"/>
                  </a:lnTo>
                  <a:lnTo>
                    <a:pt x="228" y="60"/>
                  </a:lnTo>
                  <a:lnTo>
                    <a:pt x="243" y="54"/>
                  </a:lnTo>
                  <a:lnTo>
                    <a:pt x="259" y="47"/>
                  </a:lnTo>
                  <a:lnTo>
                    <a:pt x="276" y="41"/>
                  </a:lnTo>
                  <a:lnTo>
                    <a:pt x="293" y="37"/>
                  </a:lnTo>
                  <a:lnTo>
                    <a:pt x="310" y="32"/>
                  </a:lnTo>
                  <a:lnTo>
                    <a:pt x="327" y="29"/>
                  </a:lnTo>
                  <a:lnTo>
                    <a:pt x="346" y="27"/>
                  </a:lnTo>
                  <a:lnTo>
                    <a:pt x="363" y="26"/>
                  </a:lnTo>
                  <a:lnTo>
                    <a:pt x="381" y="25"/>
                  </a:lnTo>
                  <a:lnTo>
                    <a:pt x="400" y="26"/>
                  </a:lnTo>
                  <a:lnTo>
                    <a:pt x="418" y="27"/>
                  </a:lnTo>
                  <a:lnTo>
                    <a:pt x="436" y="29"/>
                  </a:lnTo>
                  <a:lnTo>
                    <a:pt x="453" y="32"/>
                  </a:lnTo>
                  <a:lnTo>
                    <a:pt x="470" y="37"/>
                  </a:lnTo>
                  <a:lnTo>
                    <a:pt x="487" y="41"/>
                  </a:lnTo>
                  <a:lnTo>
                    <a:pt x="505" y="47"/>
                  </a:lnTo>
                  <a:lnTo>
                    <a:pt x="521" y="54"/>
                  </a:lnTo>
                  <a:lnTo>
                    <a:pt x="536" y="60"/>
                  </a:lnTo>
                  <a:lnTo>
                    <a:pt x="552" y="69"/>
                  </a:lnTo>
                  <a:lnTo>
                    <a:pt x="567" y="78"/>
                  </a:lnTo>
                  <a:lnTo>
                    <a:pt x="581" y="86"/>
                  </a:lnTo>
                  <a:lnTo>
                    <a:pt x="595" y="97"/>
                  </a:lnTo>
                  <a:lnTo>
                    <a:pt x="609" y="107"/>
                  </a:lnTo>
                  <a:lnTo>
                    <a:pt x="622" y="118"/>
                  </a:lnTo>
                  <a:lnTo>
                    <a:pt x="633" y="130"/>
                  </a:lnTo>
                  <a:lnTo>
                    <a:pt x="645" y="142"/>
                  </a:lnTo>
                  <a:lnTo>
                    <a:pt x="657" y="156"/>
                  </a:lnTo>
                  <a:lnTo>
                    <a:pt x="667" y="169"/>
                  </a:lnTo>
                  <a:lnTo>
                    <a:pt x="677" y="183"/>
                  </a:lnTo>
                  <a:lnTo>
                    <a:pt x="686" y="198"/>
                  </a:lnTo>
                  <a:lnTo>
                    <a:pt x="695" y="212"/>
                  </a:lnTo>
                  <a:lnTo>
                    <a:pt x="703" y="228"/>
                  </a:lnTo>
                  <a:lnTo>
                    <a:pt x="710" y="243"/>
                  </a:lnTo>
                  <a:lnTo>
                    <a:pt x="716" y="260"/>
                  </a:lnTo>
                  <a:lnTo>
                    <a:pt x="722" y="276"/>
                  </a:lnTo>
                  <a:lnTo>
                    <a:pt x="727" y="293"/>
                  </a:lnTo>
                  <a:lnTo>
                    <a:pt x="731" y="311"/>
                  </a:lnTo>
                  <a:lnTo>
                    <a:pt x="734" y="328"/>
                  </a:lnTo>
                  <a:lnTo>
                    <a:pt x="736" y="346"/>
                  </a:lnTo>
                  <a:lnTo>
                    <a:pt x="738" y="363"/>
                  </a:lnTo>
                  <a:lnTo>
                    <a:pt x="739" y="381"/>
                  </a:lnTo>
                  <a:lnTo>
                    <a:pt x="738" y="401"/>
                  </a:lnTo>
                  <a:lnTo>
                    <a:pt x="736" y="418"/>
                  </a:lnTo>
                  <a:lnTo>
                    <a:pt x="734" y="436"/>
                  </a:lnTo>
                  <a:lnTo>
                    <a:pt x="731" y="453"/>
                  </a:lnTo>
                  <a:lnTo>
                    <a:pt x="727" y="472"/>
                  </a:lnTo>
                  <a:lnTo>
                    <a:pt x="722" y="488"/>
                  </a:lnTo>
                  <a:lnTo>
                    <a:pt x="716" y="505"/>
                  </a:lnTo>
                  <a:lnTo>
                    <a:pt x="710" y="521"/>
                  </a:lnTo>
                  <a:lnTo>
                    <a:pt x="703" y="537"/>
                  </a:lnTo>
                  <a:lnTo>
                    <a:pt x="695" y="552"/>
                  </a:lnTo>
                  <a:lnTo>
                    <a:pt x="686" y="567"/>
                  </a:lnTo>
                  <a:lnTo>
                    <a:pt x="677" y="581"/>
                  </a:lnTo>
                  <a:lnTo>
                    <a:pt x="667" y="595"/>
                  </a:lnTo>
                  <a:lnTo>
                    <a:pt x="657" y="609"/>
                  </a:lnTo>
                  <a:lnTo>
                    <a:pt x="645" y="622"/>
                  </a:lnTo>
                  <a:lnTo>
                    <a:pt x="633" y="634"/>
                  </a:lnTo>
                  <a:lnTo>
                    <a:pt x="622" y="646"/>
                  </a:lnTo>
                  <a:lnTo>
                    <a:pt x="609" y="657"/>
                  </a:lnTo>
                  <a:lnTo>
                    <a:pt x="595" y="668"/>
                  </a:lnTo>
                  <a:lnTo>
                    <a:pt x="581" y="678"/>
                  </a:lnTo>
                  <a:lnTo>
                    <a:pt x="567" y="686"/>
                  </a:lnTo>
                  <a:lnTo>
                    <a:pt x="552" y="695"/>
                  </a:lnTo>
                  <a:lnTo>
                    <a:pt x="536" y="704"/>
                  </a:lnTo>
                  <a:lnTo>
                    <a:pt x="521" y="710"/>
                  </a:lnTo>
                  <a:lnTo>
                    <a:pt x="505" y="716"/>
                  </a:lnTo>
                  <a:lnTo>
                    <a:pt x="487" y="723"/>
                  </a:lnTo>
                  <a:lnTo>
                    <a:pt x="470" y="727"/>
                  </a:lnTo>
                  <a:lnTo>
                    <a:pt x="453" y="731"/>
                  </a:lnTo>
                  <a:lnTo>
                    <a:pt x="436" y="735"/>
                  </a:lnTo>
                  <a:lnTo>
                    <a:pt x="418" y="737"/>
                  </a:lnTo>
                  <a:lnTo>
                    <a:pt x="400" y="738"/>
                  </a:lnTo>
                  <a:lnTo>
                    <a:pt x="381" y="738"/>
                  </a:lnTo>
                  <a:close/>
                  <a:moveTo>
                    <a:pt x="381" y="0"/>
                  </a:moveTo>
                  <a:lnTo>
                    <a:pt x="362" y="0"/>
                  </a:lnTo>
                  <a:lnTo>
                    <a:pt x="342" y="1"/>
                  </a:lnTo>
                  <a:lnTo>
                    <a:pt x="323" y="5"/>
                  </a:lnTo>
                  <a:lnTo>
                    <a:pt x="305" y="8"/>
                  </a:lnTo>
                  <a:lnTo>
                    <a:pt x="287" y="12"/>
                  </a:lnTo>
                  <a:lnTo>
                    <a:pt x="268" y="17"/>
                  </a:lnTo>
                  <a:lnTo>
                    <a:pt x="250" y="23"/>
                  </a:lnTo>
                  <a:lnTo>
                    <a:pt x="233" y="30"/>
                  </a:lnTo>
                  <a:lnTo>
                    <a:pt x="216" y="38"/>
                  </a:lnTo>
                  <a:lnTo>
                    <a:pt x="200" y="46"/>
                  </a:lnTo>
                  <a:lnTo>
                    <a:pt x="184" y="55"/>
                  </a:lnTo>
                  <a:lnTo>
                    <a:pt x="168" y="66"/>
                  </a:lnTo>
                  <a:lnTo>
                    <a:pt x="153" y="76"/>
                  </a:lnTo>
                  <a:lnTo>
                    <a:pt x="138" y="87"/>
                  </a:lnTo>
                  <a:lnTo>
                    <a:pt x="124" y="99"/>
                  </a:lnTo>
                  <a:lnTo>
                    <a:pt x="112" y="112"/>
                  </a:lnTo>
                  <a:lnTo>
                    <a:pt x="99" y="126"/>
                  </a:lnTo>
                  <a:lnTo>
                    <a:pt x="87" y="139"/>
                  </a:lnTo>
                  <a:lnTo>
                    <a:pt x="75" y="154"/>
                  </a:lnTo>
                  <a:lnTo>
                    <a:pt x="65" y="169"/>
                  </a:lnTo>
                  <a:lnTo>
                    <a:pt x="55" y="184"/>
                  </a:lnTo>
                  <a:lnTo>
                    <a:pt x="46" y="200"/>
                  </a:lnTo>
                  <a:lnTo>
                    <a:pt x="37" y="217"/>
                  </a:lnTo>
                  <a:lnTo>
                    <a:pt x="30" y="233"/>
                  </a:lnTo>
                  <a:lnTo>
                    <a:pt x="22" y="250"/>
                  </a:lnTo>
                  <a:lnTo>
                    <a:pt x="17" y="269"/>
                  </a:lnTo>
                  <a:lnTo>
                    <a:pt x="12" y="287"/>
                  </a:lnTo>
                  <a:lnTo>
                    <a:pt x="7" y="305"/>
                  </a:lnTo>
                  <a:lnTo>
                    <a:pt x="4" y="323"/>
                  </a:lnTo>
                  <a:lnTo>
                    <a:pt x="2" y="343"/>
                  </a:lnTo>
                  <a:lnTo>
                    <a:pt x="0" y="362"/>
                  </a:lnTo>
                  <a:lnTo>
                    <a:pt x="0" y="381"/>
                  </a:lnTo>
                  <a:lnTo>
                    <a:pt x="0" y="402"/>
                  </a:lnTo>
                  <a:lnTo>
                    <a:pt x="2" y="421"/>
                  </a:lnTo>
                  <a:lnTo>
                    <a:pt x="4" y="440"/>
                  </a:lnTo>
                  <a:lnTo>
                    <a:pt x="7" y="459"/>
                  </a:lnTo>
                  <a:lnTo>
                    <a:pt x="12" y="477"/>
                  </a:lnTo>
                  <a:lnTo>
                    <a:pt x="17" y="495"/>
                  </a:lnTo>
                  <a:lnTo>
                    <a:pt x="22" y="513"/>
                  </a:lnTo>
                  <a:lnTo>
                    <a:pt x="30" y="531"/>
                  </a:lnTo>
                  <a:lnTo>
                    <a:pt x="37" y="548"/>
                  </a:lnTo>
                  <a:lnTo>
                    <a:pt x="46" y="564"/>
                  </a:lnTo>
                  <a:lnTo>
                    <a:pt x="55" y="580"/>
                  </a:lnTo>
                  <a:lnTo>
                    <a:pt x="65" y="595"/>
                  </a:lnTo>
                  <a:lnTo>
                    <a:pt x="75" y="610"/>
                  </a:lnTo>
                  <a:lnTo>
                    <a:pt x="87" y="625"/>
                  </a:lnTo>
                  <a:lnTo>
                    <a:pt x="99" y="639"/>
                  </a:lnTo>
                  <a:lnTo>
                    <a:pt x="112" y="652"/>
                  </a:lnTo>
                  <a:lnTo>
                    <a:pt x="124" y="665"/>
                  </a:lnTo>
                  <a:lnTo>
                    <a:pt x="138" y="677"/>
                  </a:lnTo>
                  <a:lnTo>
                    <a:pt x="153" y="689"/>
                  </a:lnTo>
                  <a:lnTo>
                    <a:pt x="168" y="699"/>
                  </a:lnTo>
                  <a:lnTo>
                    <a:pt x="184" y="709"/>
                  </a:lnTo>
                  <a:lnTo>
                    <a:pt x="200" y="718"/>
                  </a:lnTo>
                  <a:lnTo>
                    <a:pt x="216" y="726"/>
                  </a:lnTo>
                  <a:lnTo>
                    <a:pt x="233" y="734"/>
                  </a:lnTo>
                  <a:lnTo>
                    <a:pt x="250" y="741"/>
                  </a:lnTo>
                  <a:lnTo>
                    <a:pt x="268" y="747"/>
                  </a:lnTo>
                  <a:lnTo>
                    <a:pt x="287" y="752"/>
                  </a:lnTo>
                  <a:lnTo>
                    <a:pt x="305" y="756"/>
                  </a:lnTo>
                  <a:lnTo>
                    <a:pt x="323" y="759"/>
                  </a:lnTo>
                  <a:lnTo>
                    <a:pt x="342" y="762"/>
                  </a:lnTo>
                  <a:lnTo>
                    <a:pt x="362" y="764"/>
                  </a:lnTo>
                  <a:lnTo>
                    <a:pt x="381" y="764"/>
                  </a:lnTo>
                  <a:lnTo>
                    <a:pt x="401" y="764"/>
                  </a:lnTo>
                  <a:lnTo>
                    <a:pt x="421" y="762"/>
                  </a:lnTo>
                  <a:lnTo>
                    <a:pt x="440" y="759"/>
                  </a:lnTo>
                  <a:lnTo>
                    <a:pt x="458" y="756"/>
                  </a:lnTo>
                  <a:lnTo>
                    <a:pt x="477" y="752"/>
                  </a:lnTo>
                  <a:lnTo>
                    <a:pt x="495" y="747"/>
                  </a:lnTo>
                  <a:lnTo>
                    <a:pt x="513" y="741"/>
                  </a:lnTo>
                  <a:lnTo>
                    <a:pt x="530" y="734"/>
                  </a:lnTo>
                  <a:lnTo>
                    <a:pt x="547" y="726"/>
                  </a:lnTo>
                  <a:lnTo>
                    <a:pt x="564" y="718"/>
                  </a:lnTo>
                  <a:lnTo>
                    <a:pt x="580" y="709"/>
                  </a:lnTo>
                  <a:lnTo>
                    <a:pt x="595" y="699"/>
                  </a:lnTo>
                  <a:lnTo>
                    <a:pt x="610" y="689"/>
                  </a:lnTo>
                  <a:lnTo>
                    <a:pt x="625" y="677"/>
                  </a:lnTo>
                  <a:lnTo>
                    <a:pt x="639" y="665"/>
                  </a:lnTo>
                  <a:lnTo>
                    <a:pt x="652" y="652"/>
                  </a:lnTo>
                  <a:lnTo>
                    <a:pt x="665" y="639"/>
                  </a:lnTo>
                  <a:lnTo>
                    <a:pt x="676" y="625"/>
                  </a:lnTo>
                  <a:lnTo>
                    <a:pt x="687" y="610"/>
                  </a:lnTo>
                  <a:lnTo>
                    <a:pt x="698" y="595"/>
                  </a:lnTo>
                  <a:lnTo>
                    <a:pt x="709" y="580"/>
                  </a:lnTo>
                  <a:lnTo>
                    <a:pt x="717" y="564"/>
                  </a:lnTo>
                  <a:lnTo>
                    <a:pt x="726" y="548"/>
                  </a:lnTo>
                  <a:lnTo>
                    <a:pt x="733" y="531"/>
                  </a:lnTo>
                  <a:lnTo>
                    <a:pt x="741" y="513"/>
                  </a:lnTo>
                  <a:lnTo>
                    <a:pt x="746" y="495"/>
                  </a:lnTo>
                  <a:lnTo>
                    <a:pt x="751" y="477"/>
                  </a:lnTo>
                  <a:lnTo>
                    <a:pt x="756" y="459"/>
                  </a:lnTo>
                  <a:lnTo>
                    <a:pt x="759" y="440"/>
                  </a:lnTo>
                  <a:lnTo>
                    <a:pt x="761" y="421"/>
                  </a:lnTo>
                  <a:lnTo>
                    <a:pt x="763" y="402"/>
                  </a:lnTo>
                  <a:lnTo>
                    <a:pt x="763" y="381"/>
                  </a:lnTo>
                  <a:lnTo>
                    <a:pt x="763" y="362"/>
                  </a:lnTo>
                  <a:lnTo>
                    <a:pt x="761" y="343"/>
                  </a:lnTo>
                  <a:lnTo>
                    <a:pt x="759" y="323"/>
                  </a:lnTo>
                  <a:lnTo>
                    <a:pt x="756" y="305"/>
                  </a:lnTo>
                  <a:lnTo>
                    <a:pt x="751" y="287"/>
                  </a:lnTo>
                  <a:lnTo>
                    <a:pt x="746" y="269"/>
                  </a:lnTo>
                  <a:lnTo>
                    <a:pt x="741" y="250"/>
                  </a:lnTo>
                  <a:lnTo>
                    <a:pt x="733" y="233"/>
                  </a:lnTo>
                  <a:lnTo>
                    <a:pt x="726" y="217"/>
                  </a:lnTo>
                  <a:lnTo>
                    <a:pt x="717" y="200"/>
                  </a:lnTo>
                  <a:lnTo>
                    <a:pt x="709" y="184"/>
                  </a:lnTo>
                  <a:lnTo>
                    <a:pt x="698" y="169"/>
                  </a:lnTo>
                  <a:lnTo>
                    <a:pt x="687" y="154"/>
                  </a:lnTo>
                  <a:lnTo>
                    <a:pt x="676" y="139"/>
                  </a:lnTo>
                  <a:lnTo>
                    <a:pt x="665" y="126"/>
                  </a:lnTo>
                  <a:lnTo>
                    <a:pt x="652" y="112"/>
                  </a:lnTo>
                  <a:lnTo>
                    <a:pt x="639" y="99"/>
                  </a:lnTo>
                  <a:lnTo>
                    <a:pt x="625" y="87"/>
                  </a:lnTo>
                  <a:lnTo>
                    <a:pt x="610" y="76"/>
                  </a:lnTo>
                  <a:lnTo>
                    <a:pt x="595" y="66"/>
                  </a:lnTo>
                  <a:lnTo>
                    <a:pt x="580" y="55"/>
                  </a:lnTo>
                  <a:lnTo>
                    <a:pt x="564" y="46"/>
                  </a:lnTo>
                  <a:lnTo>
                    <a:pt x="547" y="38"/>
                  </a:lnTo>
                  <a:lnTo>
                    <a:pt x="530" y="30"/>
                  </a:lnTo>
                  <a:lnTo>
                    <a:pt x="513" y="23"/>
                  </a:lnTo>
                  <a:lnTo>
                    <a:pt x="495" y="17"/>
                  </a:lnTo>
                  <a:lnTo>
                    <a:pt x="477" y="12"/>
                  </a:lnTo>
                  <a:lnTo>
                    <a:pt x="458" y="8"/>
                  </a:lnTo>
                  <a:lnTo>
                    <a:pt x="440" y="5"/>
                  </a:lnTo>
                  <a:lnTo>
                    <a:pt x="421" y="1"/>
                  </a:lnTo>
                  <a:lnTo>
                    <a:pt x="401" y="0"/>
                  </a:lnTo>
                  <a:lnTo>
                    <a:pt x="38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7" name="Freeform 137">
              <a:extLst>
                <a:ext uri="{FF2B5EF4-FFF2-40B4-BE49-F238E27FC236}">
                  <a16:creationId xmlns:a16="http://schemas.microsoft.com/office/drawing/2014/main" id="{37BB4AAF-216D-4809-9981-D9E6BC0231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74813" y="4529138"/>
              <a:ext cx="106363" cy="157163"/>
            </a:xfrm>
            <a:custGeom>
              <a:avLst/>
              <a:gdLst>
                <a:gd name="T0" fmla="*/ 27 w 269"/>
                <a:gd name="T1" fmla="*/ 180 h 395"/>
                <a:gd name="T2" fmla="*/ 32 w 269"/>
                <a:gd name="T3" fmla="*/ 167 h 395"/>
                <a:gd name="T4" fmla="*/ 43 w 269"/>
                <a:gd name="T5" fmla="*/ 156 h 395"/>
                <a:gd name="T6" fmla="*/ 56 w 269"/>
                <a:gd name="T7" fmla="*/ 151 h 395"/>
                <a:gd name="T8" fmla="*/ 72 w 269"/>
                <a:gd name="T9" fmla="*/ 151 h 395"/>
                <a:gd name="T10" fmla="*/ 85 w 269"/>
                <a:gd name="T11" fmla="*/ 156 h 395"/>
                <a:gd name="T12" fmla="*/ 95 w 269"/>
                <a:gd name="T13" fmla="*/ 167 h 395"/>
                <a:gd name="T14" fmla="*/ 101 w 269"/>
                <a:gd name="T15" fmla="*/ 180 h 395"/>
                <a:gd name="T16" fmla="*/ 101 w 269"/>
                <a:gd name="T17" fmla="*/ 196 h 395"/>
                <a:gd name="T18" fmla="*/ 95 w 269"/>
                <a:gd name="T19" fmla="*/ 210 h 395"/>
                <a:gd name="T20" fmla="*/ 91 w 269"/>
                <a:gd name="T21" fmla="*/ 215 h 395"/>
                <a:gd name="T22" fmla="*/ 78 w 269"/>
                <a:gd name="T23" fmla="*/ 223 h 395"/>
                <a:gd name="T24" fmla="*/ 63 w 269"/>
                <a:gd name="T25" fmla="*/ 226 h 395"/>
                <a:gd name="T26" fmla="*/ 49 w 269"/>
                <a:gd name="T27" fmla="*/ 223 h 395"/>
                <a:gd name="T28" fmla="*/ 36 w 269"/>
                <a:gd name="T29" fmla="*/ 215 h 395"/>
                <a:gd name="T30" fmla="*/ 29 w 269"/>
                <a:gd name="T31" fmla="*/ 202 h 395"/>
                <a:gd name="T32" fmla="*/ 25 w 269"/>
                <a:gd name="T33" fmla="*/ 187 h 395"/>
                <a:gd name="T34" fmla="*/ 121 w 269"/>
                <a:gd name="T35" fmla="*/ 215 h 395"/>
                <a:gd name="T36" fmla="*/ 126 w 269"/>
                <a:gd name="T37" fmla="*/ 198 h 395"/>
                <a:gd name="T38" fmla="*/ 126 w 269"/>
                <a:gd name="T39" fmla="*/ 181 h 395"/>
                <a:gd name="T40" fmla="*/ 124 w 269"/>
                <a:gd name="T41" fmla="*/ 169 h 395"/>
                <a:gd name="T42" fmla="*/ 120 w 269"/>
                <a:gd name="T43" fmla="*/ 157 h 395"/>
                <a:gd name="T44" fmla="*/ 112 w 269"/>
                <a:gd name="T45" fmla="*/ 148 h 395"/>
                <a:gd name="T46" fmla="*/ 104 w 269"/>
                <a:gd name="T47" fmla="*/ 139 h 395"/>
                <a:gd name="T48" fmla="*/ 94 w 269"/>
                <a:gd name="T49" fmla="*/ 132 h 395"/>
                <a:gd name="T50" fmla="*/ 82 w 269"/>
                <a:gd name="T51" fmla="*/ 127 h 395"/>
                <a:gd name="T52" fmla="*/ 71 w 269"/>
                <a:gd name="T53" fmla="*/ 124 h 395"/>
                <a:gd name="T54" fmla="*/ 63 w 269"/>
                <a:gd name="T55" fmla="*/ 12 h 395"/>
                <a:gd name="T56" fmla="*/ 60 w 269"/>
                <a:gd name="T57" fmla="*/ 3 h 395"/>
                <a:gd name="T58" fmla="*/ 51 w 269"/>
                <a:gd name="T59" fmla="*/ 0 h 395"/>
                <a:gd name="T60" fmla="*/ 42 w 269"/>
                <a:gd name="T61" fmla="*/ 3 h 395"/>
                <a:gd name="T62" fmla="*/ 38 w 269"/>
                <a:gd name="T63" fmla="*/ 12 h 395"/>
                <a:gd name="T64" fmla="*/ 30 w 269"/>
                <a:gd name="T65" fmla="*/ 135 h 395"/>
                <a:gd name="T66" fmla="*/ 16 w 269"/>
                <a:gd name="T67" fmla="*/ 146 h 395"/>
                <a:gd name="T68" fmla="*/ 6 w 269"/>
                <a:gd name="T69" fmla="*/ 161 h 395"/>
                <a:gd name="T70" fmla="*/ 1 w 269"/>
                <a:gd name="T71" fmla="*/ 179 h 395"/>
                <a:gd name="T72" fmla="*/ 0 w 269"/>
                <a:gd name="T73" fmla="*/ 195 h 395"/>
                <a:gd name="T74" fmla="*/ 3 w 269"/>
                <a:gd name="T75" fmla="*/ 207 h 395"/>
                <a:gd name="T76" fmla="*/ 7 w 269"/>
                <a:gd name="T77" fmla="*/ 219 h 395"/>
                <a:gd name="T78" fmla="*/ 15 w 269"/>
                <a:gd name="T79" fmla="*/ 228 h 395"/>
                <a:gd name="T80" fmla="*/ 23 w 269"/>
                <a:gd name="T81" fmla="*/ 237 h 395"/>
                <a:gd name="T82" fmla="*/ 33 w 269"/>
                <a:gd name="T83" fmla="*/ 244 h 395"/>
                <a:gd name="T84" fmla="*/ 45 w 269"/>
                <a:gd name="T85" fmla="*/ 249 h 395"/>
                <a:gd name="T86" fmla="*/ 57 w 269"/>
                <a:gd name="T87" fmla="*/ 251 h 395"/>
                <a:gd name="T88" fmla="*/ 73 w 269"/>
                <a:gd name="T89" fmla="*/ 251 h 395"/>
                <a:gd name="T90" fmla="*/ 91 w 269"/>
                <a:gd name="T91" fmla="*/ 245 h 395"/>
                <a:gd name="T92" fmla="*/ 248 w 269"/>
                <a:gd name="T93" fmla="*/ 390 h 395"/>
                <a:gd name="T94" fmla="*/ 256 w 269"/>
                <a:gd name="T95" fmla="*/ 395 h 395"/>
                <a:gd name="T96" fmla="*/ 265 w 269"/>
                <a:gd name="T97" fmla="*/ 390 h 395"/>
                <a:gd name="T98" fmla="*/ 269 w 269"/>
                <a:gd name="T99" fmla="*/ 382 h 395"/>
                <a:gd name="T100" fmla="*/ 265 w 269"/>
                <a:gd name="T101" fmla="*/ 372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69" h="395">
                  <a:moveTo>
                    <a:pt x="25" y="187"/>
                  </a:moveTo>
                  <a:lnTo>
                    <a:pt x="27" y="180"/>
                  </a:lnTo>
                  <a:lnTo>
                    <a:pt x="29" y="173"/>
                  </a:lnTo>
                  <a:lnTo>
                    <a:pt x="32" y="167"/>
                  </a:lnTo>
                  <a:lnTo>
                    <a:pt x="36" y="162"/>
                  </a:lnTo>
                  <a:lnTo>
                    <a:pt x="43" y="156"/>
                  </a:lnTo>
                  <a:lnTo>
                    <a:pt x="49" y="153"/>
                  </a:lnTo>
                  <a:lnTo>
                    <a:pt x="56" y="151"/>
                  </a:lnTo>
                  <a:lnTo>
                    <a:pt x="63" y="150"/>
                  </a:lnTo>
                  <a:lnTo>
                    <a:pt x="72" y="151"/>
                  </a:lnTo>
                  <a:lnTo>
                    <a:pt x="78" y="153"/>
                  </a:lnTo>
                  <a:lnTo>
                    <a:pt x="85" y="156"/>
                  </a:lnTo>
                  <a:lnTo>
                    <a:pt x="91" y="162"/>
                  </a:lnTo>
                  <a:lnTo>
                    <a:pt x="95" y="167"/>
                  </a:lnTo>
                  <a:lnTo>
                    <a:pt x="98" y="173"/>
                  </a:lnTo>
                  <a:lnTo>
                    <a:pt x="101" y="180"/>
                  </a:lnTo>
                  <a:lnTo>
                    <a:pt x="102" y="187"/>
                  </a:lnTo>
                  <a:lnTo>
                    <a:pt x="101" y="196"/>
                  </a:lnTo>
                  <a:lnTo>
                    <a:pt x="98" y="204"/>
                  </a:lnTo>
                  <a:lnTo>
                    <a:pt x="95" y="210"/>
                  </a:lnTo>
                  <a:lnTo>
                    <a:pt x="91" y="215"/>
                  </a:lnTo>
                  <a:lnTo>
                    <a:pt x="91" y="215"/>
                  </a:lnTo>
                  <a:lnTo>
                    <a:pt x="85" y="220"/>
                  </a:lnTo>
                  <a:lnTo>
                    <a:pt x="78" y="223"/>
                  </a:lnTo>
                  <a:lnTo>
                    <a:pt x="72" y="225"/>
                  </a:lnTo>
                  <a:lnTo>
                    <a:pt x="63" y="226"/>
                  </a:lnTo>
                  <a:lnTo>
                    <a:pt x="56" y="225"/>
                  </a:lnTo>
                  <a:lnTo>
                    <a:pt x="49" y="223"/>
                  </a:lnTo>
                  <a:lnTo>
                    <a:pt x="43" y="220"/>
                  </a:lnTo>
                  <a:lnTo>
                    <a:pt x="36" y="215"/>
                  </a:lnTo>
                  <a:lnTo>
                    <a:pt x="32" y="210"/>
                  </a:lnTo>
                  <a:lnTo>
                    <a:pt x="29" y="202"/>
                  </a:lnTo>
                  <a:lnTo>
                    <a:pt x="27" y="196"/>
                  </a:lnTo>
                  <a:lnTo>
                    <a:pt x="25" y="187"/>
                  </a:lnTo>
                  <a:close/>
                  <a:moveTo>
                    <a:pt x="117" y="224"/>
                  </a:moveTo>
                  <a:lnTo>
                    <a:pt x="121" y="215"/>
                  </a:lnTo>
                  <a:lnTo>
                    <a:pt x="124" y="207"/>
                  </a:lnTo>
                  <a:lnTo>
                    <a:pt x="126" y="198"/>
                  </a:lnTo>
                  <a:lnTo>
                    <a:pt x="127" y="187"/>
                  </a:lnTo>
                  <a:lnTo>
                    <a:pt x="126" y="181"/>
                  </a:lnTo>
                  <a:lnTo>
                    <a:pt x="126" y="176"/>
                  </a:lnTo>
                  <a:lnTo>
                    <a:pt x="124" y="169"/>
                  </a:lnTo>
                  <a:lnTo>
                    <a:pt x="122" y="164"/>
                  </a:lnTo>
                  <a:lnTo>
                    <a:pt x="120" y="157"/>
                  </a:lnTo>
                  <a:lnTo>
                    <a:pt x="117" y="153"/>
                  </a:lnTo>
                  <a:lnTo>
                    <a:pt x="112" y="148"/>
                  </a:lnTo>
                  <a:lnTo>
                    <a:pt x="108" y="143"/>
                  </a:lnTo>
                  <a:lnTo>
                    <a:pt x="104" y="139"/>
                  </a:lnTo>
                  <a:lnTo>
                    <a:pt x="100" y="135"/>
                  </a:lnTo>
                  <a:lnTo>
                    <a:pt x="94" y="132"/>
                  </a:lnTo>
                  <a:lnTo>
                    <a:pt x="89" y="129"/>
                  </a:lnTo>
                  <a:lnTo>
                    <a:pt x="82" y="127"/>
                  </a:lnTo>
                  <a:lnTo>
                    <a:pt x="76" y="125"/>
                  </a:lnTo>
                  <a:lnTo>
                    <a:pt x="71" y="124"/>
                  </a:lnTo>
                  <a:lnTo>
                    <a:pt x="63" y="124"/>
                  </a:lnTo>
                  <a:lnTo>
                    <a:pt x="63" y="12"/>
                  </a:lnTo>
                  <a:lnTo>
                    <a:pt x="63" y="7"/>
                  </a:lnTo>
                  <a:lnTo>
                    <a:pt x="60" y="3"/>
                  </a:lnTo>
                  <a:lnTo>
                    <a:pt x="56" y="1"/>
                  </a:lnTo>
                  <a:lnTo>
                    <a:pt x="51" y="0"/>
                  </a:lnTo>
                  <a:lnTo>
                    <a:pt x="46" y="1"/>
                  </a:lnTo>
                  <a:lnTo>
                    <a:pt x="42" y="3"/>
                  </a:lnTo>
                  <a:lnTo>
                    <a:pt x="39" y="7"/>
                  </a:lnTo>
                  <a:lnTo>
                    <a:pt x="38" y="12"/>
                  </a:lnTo>
                  <a:lnTo>
                    <a:pt x="38" y="131"/>
                  </a:lnTo>
                  <a:lnTo>
                    <a:pt x="30" y="135"/>
                  </a:lnTo>
                  <a:lnTo>
                    <a:pt x="22" y="140"/>
                  </a:lnTo>
                  <a:lnTo>
                    <a:pt x="16" y="146"/>
                  </a:lnTo>
                  <a:lnTo>
                    <a:pt x="10" y="153"/>
                  </a:lnTo>
                  <a:lnTo>
                    <a:pt x="6" y="161"/>
                  </a:lnTo>
                  <a:lnTo>
                    <a:pt x="3" y="169"/>
                  </a:lnTo>
                  <a:lnTo>
                    <a:pt x="1" y="179"/>
                  </a:lnTo>
                  <a:lnTo>
                    <a:pt x="0" y="187"/>
                  </a:lnTo>
                  <a:lnTo>
                    <a:pt x="0" y="195"/>
                  </a:lnTo>
                  <a:lnTo>
                    <a:pt x="1" y="200"/>
                  </a:lnTo>
                  <a:lnTo>
                    <a:pt x="3" y="207"/>
                  </a:lnTo>
                  <a:lnTo>
                    <a:pt x="5" y="213"/>
                  </a:lnTo>
                  <a:lnTo>
                    <a:pt x="7" y="219"/>
                  </a:lnTo>
                  <a:lnTo>
                    <a:pt x="10" y="224"/>
                  </a:lnTo>
                  <a:lnTo>
                    <a:pt x="15" y="228"/>
                  </a:lnTo>
                  <a:lnTo>
                    <a:pt x="19" y="234"/>
                  </a:lnTo>
                  <a:lnTo>
                    <a:pt x="23" y="237"/>
                  </a:lnTo>
                  <a:lnTo>
                    <a:pt x="28" y="241"/>
                  </a:lnTo>
                  <a:lnTo>
                    <a:pt x="33" y="244"/>
                  </a:lnTo>
                  <a:lnTo>
                    <a:pt x="38" y="246"/>
                  </a:lnTo>
                  <a:lnTo>
                    <a:pt x="45" y="249"/>
                  </a:lnTo>
                  <a:lnTo>
                    <a:pt x="51" y="251"/>
                  </a:lnTo>
                  <a:lnTo>
                    <a:pt x="57" y="251"/>
                  </a:lnTo>
                  <a:lnTo>
                    <a:pt x="63" y="252"/>
                  </a:lnTo>
                  <a:lnTo>
                    <a:pt x="73" y="251"/>
                  </a:lnTo>
                  <a:lnTo>
                    <a:pt x="82" y="249"/>
                  </a:lnTo>
                  <a:lnTo>
                    <a:pt x="91" y="245"/>
                  </a:lnTo>
                  <a:lnTo>
                    <a:pt x="98" y="241"/>
                  </a:lnTo>
                  <a:lnTo>
                    <a:pt x="248" y="390"/>
                  </a:lnTo>
                  <a:lnTo>
                    <a:pt x="251" y="394"/>
                  </a:lnTo>
                  <a:lnTo>
                    <a:pt x="256" y="395"/>
                  </a:lnTo>
                  <a:lnTo>
                    <a:pt x="261" y="394"/>
                  </a:lnTo>
                  <a:lnTo>
                    <a:pt x="265" y="390"/>
                  </a:lnTo>
                  <a:lnTo>
                    <a:pt x="268" y="386"/>
                  </a:lnTo>
                  <a:lnTo>
                    <a:pt x="269" y="382"/>
                  </a:lnTo>
                  <a:lnTo>
                    <a:pt x="268" y="376"/>
                  </a:lnTo>
                  <a:lnTo>
                    <a:pt x="265" y="372"/>
                  </a:lnTo>
                  <a:lnTo>
                    <a:pt x="117" y="2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A118397F-CAEC-45F7-9CD4-A79902B0DCBF}"/>
              </a:ext>
            </a:extLst>
          </p:cNvPr>
          <p:cNvSpPr txBox="1"/>
          <p:nvPr/>
        </p:nvSpPr>
        <p:spPr>
          <a:xfrm>
            <a:off x="1465847" y="2418348"/>
            <a:ext cx="2472490" cy="33855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ko-KR" altLang="en-US" sz="1600">
                <a:solidFill>
                  <a:schemeClr val="bg2">
                    <a:lumMod val="10000"/>
                  </a:schemeClr>
                </a:solidFill>
                <a:latin typeface="Malgun Gothic"/>
                <a:ea typeface="Malgun Gothic"/>
              </a:rPr>
              <a:t>강의 검색 기능 강화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2F14B1D-CC1A-48C7-8876-640748B7DDA8}"/>
              </a:ext>
            </a:extLst>
          </p:cNvPr>
          <p:cNvSpPr txBox="1"/>
          <p:nvPr/>
        </p:nvSpPr>
        <p:spPr>
          <a:xfrm>
            <a:off x="3230479" y="1345532"/>
            <a:ext cx="2743200" cy="58477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ko-KR" altLang="en-US" sz="1600">
                <a:solidFill>
                  <a:schemeClr val="bg2">
                    <a:lumMod val="10000"/>
                  </a:schemeClr>
                </a:solidFill>
                <a:latin typeface="Malgun Gothic"/>
                <a:ea typeface="Malgun Gothic"/>
              </a:rPr>
              <a:t>언어별, 난이도별로 강의를 분류하여 누구나 알기 쉽게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6FEE60C-15CE-4A73-9619-62AC8EA60B18}"/>
              </a:ext>
            </a:extLst>
          </p:cNvPr>
          <p:cNvSpPr txBox="1"/>
          <p:nvPr/>
        </p:nvSpPr>
        <p:spPr>
          <a:xfrm>
            <a:off x="4864768" y="2308058"/>
            <a:ext cx="2743200" cy="83099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ko-KR" altLang="en-US" sz="1600">
                <a:solidFill>
                  <a:schemeClr val="bg2">
                    <a:lumMod val="10000"/>
                  </a:schemeClr>
                </a:solidFill>
                <a:latin typeface="Malgun Gothic"/>
                <a:ea typeface="Malgun Gothic"/>
              </a:rPr>
              <a:t>초보자에게 적합한 난이도의 문제와 자세한 설명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223A1CF7-9979-4F6E-B43B-85CEB1AAC426}"/>
              </a:ext>
            </a:extLst>
          </p:cNvPr>
          <p:cNvSpPr txBox="1"/>
          <p:nvPr/>
        </p:nvSpPr>
        <p:spPr>
          <a:xfrm>
            <a:off x="6569242" y="1345532"/>
            <a:ext cx="2743200" cy="58477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ko-KR" altLang="en-US" sz="1600" err="1">
                <a:solidFill>
                  <a:schemeClr val="bg2">
                    <a:lumMod val="10000"/>
                  </a:schemeClr>
                </a:solidFill>
                <a:latin typeface="Malgun Gothic"/>
                <a:ea typeface="Malgun Gothic"/>
              </a:rPr>
              <a:t>궁금한게</a:t>
            </a:r>
            <a:r>
              <a:rPr lang="ko-KR" altLang="en-US" sz="1600">
                <a:solidFill>
                  <a:schemeClr val="bg2">
                    <a:lumMod val="10000"/>
                  </a:schemeClr>
                </a:solidFill>
                <a:latin typeface="Malgun Gothic"/>
                <a:ea typeface="Malgun Gothic"/>
              </a:rPr>
              <a:t> 있으면 바로바로 질문할 수 있는 Q&amp;A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48A7C1E5-4479-467D-8A77-1BEFC5527D13}"/>
              </a:ext>
            </a:extLst>
          </p:cNvPr>
          <p:cNvSpPr txBox="1"/>
          <p:nvPr/>
        </p:nvSpPr>
        <p:spPr>
          <a:xfrm>
            <a:off x="8373979" y="2308058"/>
            <a:ext cx="2743200" cy="33855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ko-KR" altLang="en-US" sz="1600">
                <a:solidFill>
                  <a:schemeClr val="bg2">
                    <a:lumMod val="10000"/>
                  </a:schemeClr>
                </a:solidFill>
                <a:latin typeface="Malgun Gothic"/>
                <a:ea typeface="Malgun Gothic"/>
              </a:rPr>
              <a:t>간편하게 코딩테스트 응시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20DD6224-F5CC-4BC5-BC93-AED3B98CA23F}"/>
              </a:ext>
            </a:extLst>
          </p:cNvPr>
          <p:cNvSpPr txBox="1"/>
          <p:nvPr/>
        </p:nvSpPr>
        <p:spPr>
          <a:xfrm>
            <a:off x="219534" y="323282"/>
            <a:ext cx="4024243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ko-KR" altLang="en-US" b="1">
                <a:solidFill>
                  <a:schemeClr val="bg2">
                    <a:lumMod val="75000"/>
                  </a:schemeClr>
                </a:solidFill>
                <a:latin typeface="Malgun Gothic"/>
                <a:ea typeface="Malgun Gothic"/>
              </a:rPr>
              <a:t>어떻게 만들까?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F8FC027F-6AE3-4119-8DC3-F2FFD003B8F4}"/>
              </a:ext>
            </a:extLst>
          </p:cNvPr>
          <p:cNvCxnSpPr>
            <a:cxnSpLocks/>
          </p:cNvCxnSpPr>
          <p:nvPr/>
        </p:nvCxnSpPr>
        <p:spPr>
          <a:xfrm>
            <a:off x="0" y="742523"/>
            <a:ext cx="7442200" cy="0"/>
          </a:xfrm>
          <a:prstGeom prst="line">
            <a:avLst/>
          </a:prstGeom>
          <a:ln>
            <a:solidFill>
              <a:srgbClr val="2E1437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7101673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>
            <a:extLst>
              <a:ext uri="{FF2B5EF4-FFF2-40B4-BE49-F238E27FC236}">
                <a16:creationId xmlns:a16="http://schemas.microsoft.com/office/drawing/2014/main" id="{2FC10FF2-A030-4DF9-B3E9-80BF47367006}"/>
              </a:ext>
            </a:extLst>
          </p:cNvPr>
          <p:cNvSpPr txBox="1"/>
          <p:nvPr/>
        </p:nvSpPr>
        <p:spPr>
          <a:xfrm>
            <a:off x="838200" y="327025"/>
            <a:ext cx="10515600" cy="1661993"/>
          </a:xfrm>
          <a:prstGeom prst="rect">
            <a:avLst/>
          </a:prstGeom>
          <a:noFill/>
          <a:effectLst/>
        </p:spPr>
        <p:txBody>
          <a:bodyPr wrap="square" lIns="0" tIns="0" rIns="0" bIns="0" rtlCol="0" anchor="t">
            <a:spAutoFit/>
          </a:bodyPr>
          <a:lstStyle/>
          <a:p>
            <a:pPr algn="r"/>
            <a:r>
              <a:rPr lang="en-US" sz="5400" b="1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Use</a:t>
            </a:r>
            <a:r>
              <a:rPr lang="ko-KR" altLang="en-US" sz="5400" b="1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 </a:t>
            </a:r>
            <a:r>
              <a:rPr lang="en-US" sz="5400" b="1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Case</a:t>
            </a:r>
            <a:r>
              <a:rPr lang="ko-KR" altLang="en-US" sz="5400" b="1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 </a:t>
            </a:r>
            <a:r>
              <a:rPr lang="en-US" sz="5400" b="1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Diagram</a:t>
            </a:r>
            <a:endParaRPr lang="en-US" sz="5400">
              <a:solidFill>
                <a:schemeClr val="tx1">
                  <a:lumMod val="75000"/>
                  <a:lumOff val="25000"/>
                </a:schemeClr>
              </a:solidFill>
              <a:ea typeface="+mn-lt"/>
              <a:cs typeface="+mn-lt"/>
            </a:endParaRPr>
          </a:p>
          <a:p>
            <a:pPr algn="r"/>
            <a:endParaRPr lang="en-US" sz="5400" b="1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A3BBA7F-BCCD-4A20-A1E8-81DC7C7206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3E0A61-7EA5-4F01-AA83-D9B74E02F9FC}" type="datetime1">
              <a:rPr lang="en-US" smtClean="0"/>
              <a:t>7/3/2019</a:t>
            </a:fld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86B17AD-BC4C-433E-BA80-64D220DBC4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C45652-25C1-4BF0-A3A9-200AF1F974E6}" type="slidenum">
              <a:rPr lang="en-US" smtClean="0"/>
              <a:t>6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E0C0F18-8629-4814-8D8F-BF9AD8972D5B}"/>
              </a:ext>
            </a:extLst>
          </p:cNvPr>
          <p:cNvCxnSpPr>
            <a:cxnSpLocks/>
          </p:cNvCxnSpPr>
          <p:nvPr/>
        </p:nvCxnSpPr>
        <p:spPr>
          <a:xfrm>
            <a:off x="60158" y="742523"/>
            <a:ext cx="5321853" cy="0"/>
          </a:xfrm>
          <a:prstGeom prst="line">
            <a:avLst/>
          </a:prstGeom>
          <a:ln>
            <a:solidFill>
              <a:srgbClr val="2E1437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796A3873-7D6A-431C-AD88-D2D370A2A932}"/>
              </a:ext>
            </a:extLst>
          </p:cNvPr>
          <p:cNvSpPr/>
          <p:nvPr/>
        </p:nvSpPr>
        <p:spPr>
          <a:xfrm>
            <a:off x="1379543" y="1492190"/>
            <a:ext cx="9425577" cy="4544360"/>
          </a:xfrm>
          <a:prstGeom prst="roundRect">
            <a:avLst>
              <a:gd name="adj" fmla="val 5523"/>
            </a:avLst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pic>
        <p:nvPicPr>
          <p:cNvPr id="6" name="Picture 6" descr="텍스트이(가) 표시된 사진&#10;&#10;높은 신뢰도로 생성된 설명">
            <a:extLst>
              <a:ext uri="{FF2B5EF4-FFF2-40B4-BE49-F238E27FC236}">
                <a16:creationId xmlns:a16="http://schemas.microsoft.com/office/drawing/2014/main" id="{19701C8E-4319-4685-A990-E3372649C91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55532" y="1567349"/>
            <a:ext cx="8121371" cy="44170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714347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>
            <a:extLst>
              <a:ext uri="{FF2B5EF4-FFF2-40B4-BE49-F238E27FC236}">
                <a16:creationId xmlns:a16="http://schemas.microsoft.com/office/drawing/2014/main" id="{2FC10FF2-A030-4DF9-B3E9-80BF47367006}"/>
              </a:ext>
            </a:extLst>
          </p:cNvPr>
          <p:cNvSpPr txBox="1"/>
          <p:nvPr/>
        </p:nvSpPr>
        <p:spPr>
          <a:xfrm>
            <a:off x="838200" y="327025"/>
            <a:ext cx="10515600" cy="1661993"/>
          </a:xfrm>
          <a:prstGeom prst="rect">
            <a:avLst/>
          </a:prstGeom>
          <a:noFill/>
          <a:effectLst/>
        </p:spPr>
        <p:txBody>
          <a:bodyPr wrap="square" lIns="0" tIns="0" rIns="0" bIns="0" rtlCol="0" anchor="t">
            <a:spAutoFit/>
          </a:bodyPr>
          <a:lstStyle/>
          <a:p>
            <a:pPr algn="r"/>
            <a:r>
              <a:rPr lang="en-US" sz="5400" b="1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Use</a:t>
            </a:r>
            <a:r>
              <a:rPr lang="ko-KR" altLang="en-US" sz="5400" b="1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 </a:t>
            </a:r>
            <a:r>
              <a:rPr lang="en-US" sz="5400" b="1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Case</a:t>
            </a:r>
            <a:r>
              <a:rPr lang="ko-KR" altLang="en-US" sz="5400" b="1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 </a:t>
            </a:r>
            <a:r>
              <a:rPr lang="en-US" sz="5400" b="1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Diagram</a:t>
            </a:r>
            <a:endParaRPr lang="en-US" sz="5400">
              <a:solidFill>
                <a:schemeClr val="tx1">
                  <a:lumMod val="75000"/>
                  <a:lumOff val="25000"/>
                </a:schemeClr>
              </a:solidFill>
              <a:ea typeface="+mn-lt"/>
              <a:cs typeface="+mn-lt"/>
            </a:endParaRPr>
          </a:p>
          <a:p>
            <a:pPr algn="r"/>
            <a:endParaRPr lang="en-US" sz="5400" b="1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A3BBA7F-BCCD-4A20-A1E8-81DC7C7206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3E0A61-7EA5-4F01-AA83-D9B74E02F9FC}" type="datetime1">
              <a:rPr lang="en-US" smtClean="0"/>
              <a:t>7/3/2019</a:t>
            </a:fld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86B17AD-BC4C-433E-BA80-64D220DBC4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C45652-25C1-4BF0-A3A9-200AF1F974E6}" type="slidenum">
              <a:rPr lang="en-US" smtClean="0"/>
              <a:t>7</a:t>
            </a:fld>
            <a:endParaRPr lang="en-US"/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796A3873-7D6A-431C-AD88-D2D370A2A932}"/>
              </a:ext>
            </a:extLst>
          </p:cNvPr>
          <p:cNvSpPr/>
          <p:nvPr/>
        </p:nvSpPr>
        <p:spPr>
          <a:xfrm>
            <a:off x="1379543" y="1492190"/>
            <a:ext cx="9425577" cy="4544360"/>
          </a:xfrm>
          <a:prstGeom prst="roundRect">
            <a:avLst>
              <a:gd name="adj" fmla="val 5523"/>
            </a:avLst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pic>
        <p:nvPicPr>
          <p:cNvPr id="6" name="Picture 6">
            <a:extLst>
              <a:ext uri="{FF2B5EF4-FFF2-40B4-BE49-F238E27FC236}">
                <a16:creationId xmlns:a16="http://schemas.microsoft.com/office/drawing/2014/main" id="{9D3C4081-D4CA-4792-9038-E952560F349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321" r="1071"/>
          <a:stretch/>
        </p:blipFill>
        <p:spPr>
          <a:xfrm>
            <a:off x="1441153" y="1566332"/>
            <a:ext cx="7379077" cy="4394913"/>
          </a:xfrm>
          <a:prstGeom prst="rect">
            <a:avLst/>
          </a:prstGeom>
        </p:spPr>
      </p:pic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FF4B4AC2-5D1E-4425-80F3-0B4B4DDD1D07}"/>
              </a:ext>
            </a:extLst>
          </p:cNvPr>
          <p:cNvCxnSpPr>
            <a:cxnSpLocks/>
          </p:cNvCxnSpPr>
          <p:nvPr/>
        </p:nvCxnSpPr>
        <p:spPr>
          <a:xfrm>
            <a:off x="60158" y="742523"/>
            <a:ext cx="5321853" cy="0"/>
          </a:xfrm>
          <a:prstGeom prst="line">
            <a:avLst/>
          </a:prstGeom>
          <a:ln>
            <a:solidFill>
              <a:srgbClr val="2E1437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240033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>
            <a:extLst>
              <a:ext uri="{FF2B5EF4-FFF2-40B4-BE49-F238E27FC236}">
                <a16:creationId xmlns:a16="http://schemas.microsoft.com/office/drawing/2014/main" id="{2FC10FF2-A030-4DF9-B3E9-80BF47367006}"/>
              </a:ext>
            </a:extLst>
          </p:cNvPr>
          <p:cNvSpPr txBox="1"/>
          <p:nvPr/>
        </p:nvSpPr>
        <p:spPr>
          <a:xfrm>
            <a:off x="838200" y="327025"/>
            <a:ext cx="10515600" cy="1661993"/>
          </a:xfrm>
          <a:prstGeom prst="rect">
            <a:avLst/>
          </a:prstGeom>
          <a:noFill/>
          <a:effectLst/>
        </p:spPr>
        <p:txBody>
          <a:bodyPr wrap="square" lIns="0" tIns="0" rIns="0" bIns="0" rtlCol="0" anchor="t">
            <a:spAutoFit/>
          </a:bodyPr>
          <a:lstStyle/>
          <a:p>
            <a:pPr algn="r"/>
            <a:r>
              <a:rPr lang="en-US" sz="5400" b="1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Use</a:t>
            </a:r>
            <a:r>
              <a:rPr lang="ko-KR" altLang="en-US" sz="5400" b="1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 </a:t>
            </a:r>
            <a:r>
              <a:rPr lang="en-US" sz="5400" b="1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Case</a:t>
            </a:r>
            <a:r>
              <a:rPr lang="ko-KR" altLang="en-US" sz="5400" b="1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 </a:t>
            </a:r>
            <a:r>
              <a:rPr lang="en-US" sz="5400" b="1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Diagram</a:t>
            </a:r>
            <a:endParaRPr lang="en-US" sz="5400">
              <a:solidFill>
                <a:schemeClr val="tx1">
                  <a:lumMod val="75000"/>
                  <a:lumOff val="25000"/>
                </a:schemeClr>
              </a:solidFill>
              <a:ea typeface="+mn-lt"/>
              <a:cs typeface="+mn-lt"/>
            </a:endParaRPr>
          </a:p>
          <a:p>
            <a:pPr algn="r"/>
            <a:endParaRPr lang="en-US" sz="5400" b="1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A3BBA7F-BCCD-4A20-A1E8-81DC7C7206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3E0A61-7EA5-4F01-AA83-D9B74E02F9FC}" type="datetime1">
              <a:rPr lang="en-US" smtClean="0"/>
              <a:t>7/3/2019</a:t>
            </a:fld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86B17AD-BC4C-433E-BA80-64D220DBC4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C45652-25C1-4BF0-A3A9-200AF1F974E6}" type="slidenum">
              <a:rPr lang="en-US" smtClean="0"/>
              <a:t>8</a:t>
            </a:fld>
            <a:endParaRPr lang="en-US"/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796A3873-7D6A-431C-AD88-D2D370A2A932}"/>
              </a:ext>
            </a:extLst>
          </p:cNvPr>
          <p:cNvSpPr/>
          <p:nvPr/>
        </p:nvSpPr>
        <p:spPr>
          <a:xfrm>
            <a:off x="1379543" y="1492190"/>
            <a:ext cx="9425577" cy="4544360"/>
          </a:xfrm>
          <a:prstGeom prst="roundRect">
            <a:avLst>
              <a:gd name="adj" fmla="val 5523"/>
            </a:avLst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pic>
        <p:nvPicPr>
          <p:cNvPr id="5" name="Picture 6" descr="텍스트이(가) 표시된 사진&#10;&#10;높은 신뢰도로 생성된 설명">
            <a:extLst>
              <a:ext uri="{FF2B5EF4-FFF2-40B4-BE49-F238E27FC236}">
                <a16:creationId xmlns:a16="http://schemas.microsoft.com/office/drawing/2014/main" id="{03A35993-9E92-4DE7-A30D-91A2B295A33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6515" r="-179" b="326"/>
          <a:stretch/>
        </p:blipFill>
        <p:spPr>
          <a:xfrm>
            <a:off x="1455533" y="1767616"/>
            <a:ext cx="8069495" cy="4104577"/>
          </a:xfrm>
          <a:prstGeom prst="rect">
            <a:avLst/>
          </a:prstGeom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A1844607-FDC2-4A34-B2DD-AEED90031745}"/>
              </a:ext>
            </a:extLst>
          </p:cNvPr>
          <p:cNvCxnSpPr>
            <a:cxnSpLocks/>
          </p:cNvCxnSpPr>
          <p:nvPr/>
        </p:nvCxnSpPr>
        <p:spPr>
          <a:xfrm>
            <a:off x="60158" y="742523"/>
            <a:ext cx="5321853" cy="0"/>
          </a:xfrm>
          <a:prstGeom prst="line">
            <a:avLst/>
          </a:prstGeom>
          <a:ln>
            <a:solidFill>
              <a:srgbClr val="2E1437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4699164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>
            <a:extLst>
              <a:ext uri="{FF2B5EF4-FFF2-40B4-BE49-F238E27FC236}">
                <a16:creationId xmlns:a16="http://schemas.microsoft.com/office/drawing/2014/main" id="{2FC10FF2-A030-4DF9-B3E9-80BF47367006}"/>
              </a:ext>
            </a:extLst>
          </p:cNvPr>
          <p:cNvSpPr txBox="1"/>
          <p:nvPr/>
        </p:nvSpPr>
        <p:spPr>
          <a:xfrm>
            <a:off x="838200" y="327025"/>
            <a:ext cx="10515600" cy="830997"/>
          </a:xfrm>
          <a:prstGeom prst="rect">
            <a:avLst/>
          </a:prstGeom>
          <a:noFill/>
          <a:effectLst/>
        </p:spPr>
        <p:txBody>
          <a:bodyPr wrap="square" lIns="0" tIns="0" rIns="0" bIns="0" rtlCol="0" anchor="t">
            <a:spAutoFit/>
          </a:bodyPr>
          <a:lstStyle/>
          <a:p>
            <a:pPr algn="r"/>
            <a:r>
              <a:rPr lang="en-US" sz="5400" b="1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Use</a:t>
            </a:r>
            <a:r>
              <a:rPr lang="ko-KR" altLang="en-US" sz="5400" b="1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 </a:t>
            </a:r>
            <a:r>
              <a:rPr lang="en-US" sz="5400" b="1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Case</a:t>
            </a:r>
            <a:r>
              <a:rPr lang="ko-KR" altLang="en-US" sz="5400" b="1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 </a:t>
            </a:r>
            <a:r>
              <a:rPr lang="en-US" sz="5400" b="1">
                <a:solidFill>
                  <a:schemeClr val="tx1">
                    <a:lumMod val="75000"/>
                    <a:lumOff val="25000"/>
                  </a:schemeClr>
                </a:solidFill>
                <a:ea typeface="+mn-lt"/>
                <a:cs typeface="+mn-lt"/>
              </a:rPr>
              <a:t>Diagram</a:t>
            </a:r>
            <a:endParaRPr lang="ko-KR" altLang="en-US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A3BBA7F-BCCD-4A20-A1E8-81DC7C7206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3E0A61-7EA5-4F01-AA83-D9B74E02F9FC}" type="datetime1">
              <a:rPr lang="en-US" smtClean="0"/>
              <a:t>7/3/2019</a:t>
            </a:fld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86B17AD-BC4C-433E-BA80-64D220DBC4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C45652-25C1-4BF0-A3A9-200AF1F974E6}" type="slidenum">
              <a:rPr lang="en-US" smtClean="0"/>
              <a:t>9</a:t>
            </a:fld>
            <a:endParaRPr lang="en-US"/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5F7A6BD0-F852-4C81-A17B-4FAFA110D642}"/>
              </a:ext>
            </a:extLst>
          </p:cNvPr>
          <p:cNvSpPr txBox="1"/>
          <p:nvPr/>
        </p:nvSpPr>
        <p:spPr>
          <a:xfrm>
            <a:off x="6027302" y="1418328"/>
            <a:ext cx="856862" cy="55399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3600">
                <a:solidFill>
                  <a:schemeClr val="bg1"/>
                </a:solidFill>
              </a:rPr>
              <a:t>04</a:t>
            </a: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094FC08E-15E8-40F3-8E91-2AB7B3895C92}"/>
              </a:ext>
            </a:extLst>
          </p:cNvPr>
          <p:cNvSpPr/>
          <p:nvPr/>
        </p:nvSpPr>
        <p:spPr>
          <a:xfrm>
            <a:off x="1379543" y="1492190"/>
            <a:ext cx="9425577" cy="4544360"/>
          </a:xfrm>
          <a:prstGeom prst="roundRect">
            <a:avLst>
              <a:gd name="adj" fmla="val 5523"/>
            </a:avLst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pic>
        <p:nvPicPr>
          <p:cNvPr id="5" name="Picture 5">
            <a:extLst>
              <a:ext uri="{FF2B5EF4-FFF2-40B4-BE49-F238E27FC236}">
                <a16:creationId xmlns:a16="http://schemas.microsoft.com/office/drawing/2014/main" id="{9D98BF03-2C96-4933-AC50-689FE68C22B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55532" y="1567349"/>
            <a:ext cx="8066154" cy="4394917"/>
          </a:xfrm>
          <a:prstGeom prst="rect">
            <a:avLst/>
          </a:prstGeom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268239BB-4422-4432-AADE-4E2B522B0F9D}"/>
              </a:ext>
            </a:extLst>
          </p:cNvPr>
          <p:cNvCxnSpPr>
            <a:cxnSpLocks/>
          </p:cNvCxnSpPr>
          <p:nvPr/>
        </p:nvCxnSpPr>
        <p:spPr>
          <a:xfrm>
            <a:off x="60158" y="742523"/>
            <a:ext cx="5321853" cy="0"/>
          </a:xfrm>
          <a:prstGeom prst="line">
            <a:avLst/>
          </a:prstGeom>
          <a:ln>
            <a:solidFill>
              <a:srgbClr val="2E1437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6340154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heme/theme1.xml><?xml version="1.0" encoding="utf-8"?>
<a:theme xmlns:a="http://schemas.openxmlformats.org/drawingml/2006/main" name="Office Theme">
  <a:themeElements>
    <a:clrScheme name="Custom 4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6B6B"/>
      </a:accent1>
      <a:accent2>
        <a:srgbClr val="556270"/>
      </a:accent2>
      <a:accent3>
        <a:srgbClr val="280E32"/>
      </a:accent3>
      <a:accent4>
        <a:srgbClr val="FF6B6B"/>
      </a:accent4>
      <a:accent5>
        <a:srgbClr val="556270"/>
      </a:accent5>
      <a:accent6>
        <a:srgbClr val="280E32"/>
      </a:accent6>
      <a:hlink>
        <a:srgbClr val="0563C1"/>
      </a:hlink>
      <a:folHlink>
        <a:srgbClr val="954F72"/>
      </a:folHlink>
    </a:clrScheme>
    <a:fontScheme name="Tw Cen MT-Rockwell">
      <a:majorFont>
        <a:latin typeface="Tw Cen MT" panose="020B0602020104020603"/>
        <a:ea typeface=""/>
        <a:cs typeface=""/>
        <a:font script="Grek" typeface="Calibri"/>
        <a:font script="Cyrl" typeface="Calibri"/>
        <a:font script="Jpan" typeface="HGPｺﾞｼｯｸE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Rockwell" panose="02060603020205020403"/>
        <a:ea typeface=""/>
        <a:cs typeface=""/>
        <a:font script="Grek" typeface="Cambria"/>
        <a:font script="Cyrl" typeface="Cambria"/>
        <a:font script="Jpan" typeface="HG明朝B"/>
        <a:font script="Hang" typeface="바탕"/>
        <a:font script="Hans" typeface="方正姚体"/>
        <a:font script="Hant" typeface="標楷體"/>
        <a:font script="Arab" typeface="Times New Roman"/>
        <a:font script="Hebr" typeface="David"/>
        <a:font script="Thai" typeface="JasmineUPC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Application>Microsoft Office PowerPoint</Application>
  <PresentationFormat>Widescreen</PresentationFormat>
  <Slides>13</Slides>
  <Notes>1</Notes>
  <HiddenSlides>0</HiddenSlide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4" baseType="lpstr">
      <vt:lpstr>Office Them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risnawanugroho</dc:creator>
  <cp:revision>4</cp:revision>
  <dcterms:created xsi:type="dcterms:W3CDTF">2019-02-15T09:30:38Z</dcterms:created>
  <dcterms:modified xsi:type="dcterms:W3CDTF">2019-07-04T01:16:56Z</dcterms:modified>
</cp:coreProperties>
</file>